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6" r:id="rId1"/>
  </p:sldMasterIdLst>
  <p:notesMasterIdLst>
    <p:notesMasterId r:id="rId70"/>
  </p:notesMasterIdLst>
  <p:handoutMasterIdLst>
    <p:handoutMasterId r:id="rId71"/>
  </p:handoutMasterIdLst>
  <p:sldIdLst>
    <p:sldId id="275" r:id="rId2"/>
    <p:sldId id="763" r:id="rId3"/>
    <p:sldId id="740" r:id="rId4"/>
    <p:sldId id="828" r:id="rId5"/>
    <p:sldId id="742" r:id="rId6"/>
    <p:sldId id="743" r:id="rId7"/>
    <p:sldId id="744" r:id="rId8"/>
    <p:sldId id="745" r:id="rId9"/>
    <p:sldId id="805" r:id="rId10"/>
    <p:sldId id="746" r:id="rId11"/>
    <p:sldId id="747" r:id="rId12"/>
    <p:sldId id="748" r:id="rId13"/>
    <p:sldId id="806" r:id="rId14"/>
    <p:sldId id="749" r:id="rId15"/>
    <p:sldId id="750" r:id="rId16"/>
    <p:sldId id="751" r:id="rId17"/>
    <p:sldId id="752" r:id="rId18"/>
    <p:sldId id="753" r:id="rId19"/>
    <p:sldId id="754" r:id="rId20"/>
    <p:sldId id="755" r:id="rId21"/>
    <p:sldId id="756" r:id="rId22"/>
    <p:sldId id="757" r:id="rId23"/>
    <p:sldId id="758" r:id="rId24"/>
    <p:sldId id="807" r:id="rId25"/>
    <p:sldId id="808" r:id="rId26"/>
    <p:sldId id="809" r:id="rId27"/>
    <p:sldId id="810" r:id="rId28"/>
    <p:sldId id="824" r:id="rId29"/>
    <p:sldId id="823" r:id="rId30"/>
    <p:sldId id="760" r:id="rId31"/>
    <p:sldId id="812" r:id="rId32"/>
    <p:sldId id="766" r:id="rId33"/>
    <p:sldId id="764" r:id="rId34"/>
    <p:sldId id="767" r:id="rId35"/>
    <p:sldId id="829" r:id="rId36"/>
    <p:sldId id="813" r:id="rId37"/>
    <p:sldId id="814" r:id="rId38"/>
    <p:sldId id="815" r:id="rId39"/>
    <p:sldId id="771" r:id="rId40"/>
    <p:sldId id="772" r:id="rId41"/>
    <p:sldId id="774" r:id="rId42"/>
    <p:sldId id="773" r:id="rId43"/>
    <p:sldId id="777" r:id="rId44"/>
    <p:sldId id="778" r:id="rId45"/>
    <p:sldId id="779" r:id="rId46"/>
    <p:sldId id="780" r:id="rId47"/>
    <p:sldId id="781" r:id="rId48"/>
    <p:sldId id="816" r:id="rId49"/>
    <p:sldId id="782" r:id="rId50"/>
    <p:sldId id="784" r:id="rId51"/>
    <p:sldId id="785" r:id="rId52"/>
    <p:sldId id="786" r:id="rId53"/>
    <p:sldId id="787" r:id="rId54"/>
    <p:sldId id="818" r:id="rId55"/>
    <p:sldId id="790" r:id="rId56"/>
    <p:sldId id="819" r:id="rId57"/>
    <p:sldId id="820" r:id="rId58"/>
    <p:sldId id="791" r:id="rId59"/>
    <p:sldId id="793" r:id="rId60"/>
    <p:sldId id="825" r:id="rId61"/>
    <p:sldId id="826" r:id="rId62"/>
    <p:sldId id="827" r:id="rId63"/>
    <p:sldId id="794" r:id="rId64"/>
    <p:sldId id="795" r:id="rId65"/>
    <p:sldId id="796" r:id="rId66"/>
    <p:sldId id="830" r:id="rId67"/>
    <p:sldId id="831" r:id="rId68"/>
    <p:sldId id="732" r:id="rId69"/>
  </p:sldIdLst>
  <p:sldSz cx="9144000" cy="5143500" type="screen16x9"/>
  <p:notesSz cx="6858000" cy="9144000"/>
  <p:defaultTextStyle>
    <a:defPPr>
      <a:defRPr lang="fr-FR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09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iego Kalume" initials="DK" lastIdx="1" clrIdx="0">
    <p:extLst>
      <p:ext uri="{19B8F6BF-5375-455C-9EA6-DF929625EA0E}">
        <p15:presenceInfo xmlns:p15="http://schemas.microsoft.com/office/powerpoint/2012/main" userId="0fda8211b6f919ab" providerId="Windows Live"/>
      </p:ext>
    </p:extLst>
  </p:cmAuthor>
  <p:cmAuthor id="2" name="Thieblemont, Alexandre" initials="TA" lastIdx="1" clrIdx="1">
    <p:extLst>
      <p:ext uri="{19B8F6BF-5375-455C-9EA6-DF929625EA0E}">
        <p15:presenceInfo xmlns:p15="http://schemas.microsoft.com/office/powerpoint/2012/main" userId="S-1-5-21-3144203931-178755620-3096284618-4445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50130"/>
    <a:srgbClr val="800000"/>
    <a:srgbClr val="CCADAD"/>
    <a:srgbClr val="AC6969"/>
    <a:srgbClr val="8F0000"/>
    <a:srgbClr val="770000"/>
    <a:srgbClr val="FF9B9B"/>
    <a:srgbClr val="FF2F2F"/>
    <a:srgbClr val="C80000"/>
    <a:srgbClr val="AFA7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195" autoAdjust="0"/>
    <p:restoredTop sz="95226" autoAdjust="0"/>
  </p:normalViewPr>
  <p:slideViewPr>
    <p:cSldViewPr snapToGrid="0" snapToObjects="1">
      <p:cViewPr varScale="1">
        <p:scale>
          <a:sx n="88" d="100"/>
          <a:sy n="88" d="100"/>
        </p:scale>
        <p:origin x="792" y="48"/>
      </p:cViewPr>
      <p:guideLst>
        <p:guide orient="horz" pos="509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2918" y="5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tableStyles" Target="tableStyles.xml"/><Relationship Id="rId7" Type="http://schemas.openxmlformats.org/officeDocument/2006/relationships/slide" Target="slides/slide6.xml"/><Relationship Id="rId71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commentAuthors" Target="commentAuthor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notesMaster" Target="notesMasters/notesMaster1.xml"/><Relationship Id="rId75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498EAD-6581-194E-A57E-DE45FE334E86}" type="datetimeFigureOut">
              <a:rPr lang="fr-FR" smtClean="0"/>
              <a:t>22/11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F902DA-30F8-D741-B13D-E060E5799F64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3231596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2A467-0C5A-AC4A-8ADC-86CE54B10D05}" type="datetimeFigureOut">
              <a:rPr lang="fr-FR" smtClean="0"/>
              <a:t>22/11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C424ED-AD3B-9244-9118-4E653F6AFB1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529047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474667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71921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75515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41865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266650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935543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562623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29673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082177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231019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427218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3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426809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510799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879106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885110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4875682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243978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5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1642696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6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6981441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6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9668856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6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0289201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6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2544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C424ED-AD3B-9244-9118-4E653F6AFB16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279787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6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351585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C424ED-AD3B-9244-9118-4E653F6AFB16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061448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6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06144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3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63517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3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97697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3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61062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3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28080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401724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C424ED-AD3B-9244-9118-4E653F6AFB16}" type="slidenum">
              <a:rPr lang="fr-FR" smtClean="0"/>
              <a:t>4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44086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-11314"/>
            <a:ext cx="9144000" cy="5154814"/>
          </a:xfrm>
          <a:prstGeom prst="rect">
            <a:avLst/>
          </a:prstGeom>
          <a:solidFill>
            <a:srgbClr val="B501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" name="Image 1" descr="LEN text.png"/>
          <p:cNvPicPr>
            <a:picLocks noChangeAspect="1"/>
          </p:cNvPicPr>
          <p:nvPr userDrawn="1"/>
        </p:nvPicPr>
        <p:blipFill rotWithShape="1">
          <a:blip r:embed="rId2">
            <a:alphaModFix amt="2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653" b="25754"/>
          <a:stretch/>
        </p:blipFill>
        <p:spPr>
          <a:xfrm>
            <a:off x="171489" y="2634207"/>
            <a:ext cx="8972511" cy="2279465"/>
          </a:xfrm>
          <a:prstGeom prst="rect">
            <a:avLst/>
          </a:prstGeom>
        </p:spPr>
      </p:pic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>
            <a:off x="243653" y="1199420"/>
            <a:ext cx="8636876" cy="1371600"/>
          </a:xfrm>
          <a:prstGeom prst="rect">
            <a:avLst/>
          </a:prstGeom>
        </p:spPr>
        <p:txBody>
          <a:bodyPr anchor="b"/>
          <a:lstStyle>
            <a:lvl1pPr algn="r">
              <a:defRPr sz="1800" b="0" spc="600" baseline="0"/>
            </a:lvl1pPr>
          </a:lstStyle>
          <a:p>
            <a:r>
              <a:rPr lang="fr-FR" dirty="0"/>
              <a:t>CLIQUEZ ET MODIFIEZ LE TITRE</a:t>
            </a:r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1" y="4708916"/>
            <a:ext cx="9144000" cy="434584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Image 9" descr="lennox_emea_vert - blanc.png"/>
          <p:cNvPicPr>
            <a:picLocks noChangeAspect="1"/>
          </p:cNvPicPr>
          <p:nvPr userDrawn="1"/>
        </p:nvPicPr>
        <p:blipFill>
          <a:blip r:embed="rId3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653" y="-16339"/>
            <a:ext cx="524730" cy="74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167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7799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999" y="622574"/>
            <a:ext cx="8407893" cy="4144689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9" name="Title 6"/>
          <p:cNvSpPr>
            <a:spLocks noGrp="1"/>
          </p:cNvSpPr>
          <p:nvPr>
            <p:ph type="title" hasCustomPrompt="1"/>
          </p:nvPr>
        </p:nvSpPr>
        <p:spPr>
          <a:xfrm>
            <a:off x="381000" y="-11313"/>
            <a:ext cx="8526772" cy="363380"/>
          </a:xfrm>
          <a:prstGeom prst="rect">
            <a:avLst/>
          </a:prstGeom>
        </p:spPr>
        <p:txBody>
          <a:bodyPr anchor="ctr"/>
          <a:lstStyle>
            <a:lvl1pPr algn="l">
              <a:defRPr i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fr-FR" dirty="0"/>
              <a:t>CLIQUEZ ET MODIFIEZ LE TITR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4" hasCustomPrompt="1"/>
          </p:nvPr>
        </p:nvSpPr>
        <p:spPr>
          <a:xfrm>
            <a:off x="381000" y="352067"/>
            <a:ext cx="8526772" cy="2705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200" spc="3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STYLE DES SOUS-TITRES DU MASQUE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fld id="{2260D1E1-D05C-694E-8535-986F84B0D1B8}" type="datetime1">
              <a:rPr lang="fr-FR" smtClean="0"/>
              <a:t>22/11/2021</a:t>
            </a:fld>
            <a:endParaRPr lang="fr-FR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767263"/>
            <a:ext cx="3352800" cy="2057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endParaRPr lang="fr-FR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4"/>
          </p:nvPr>
        </p:nvSpPr>
        <p:spPr bwMode="auto">
          <a:xfrm>
            <a:off x="380999" y="4766310"/>
            <a:ext cx="1378699" cy="205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B679D5AC-1C0B-9841-873A-C169B35CF2CF}" type="slidenum">
              <a:rPr lang="fr-FR" smtClean="0"/>
              <a:pPr/>
              <a:t>‹N°›</a:t>
            </a:fld>
            <a:r>
              <a:rPr lang="en-US"/>
              <a:t> |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46921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81000" y="-11313"/>
            <a:ext cx="8526772" cy="363380"/>
          </a:xfrm>
          <a:prstGeom prst="rect">
            <a:avLst/>
          </a:prstGeom>
        </p:spPr>
        <p:txBody>
          <a:bodyPr anchor="ctr"/>
          <a:lstStyle>
            <a:lvl1pPr algn="l">
              <a:defRPr i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fr-FR" dirty="0"/>
              <a:t>CLIQUEZ ET MODIFIEZ LE TIT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4" hasCustomPrompt="1"/>
          </p:nvPr>
        </p:nvSpPr>
        <p:spPr>
          <a:xfrm>
            <a:off x="381000" y="352067"/>
            <a:ext cx="8526772" cy="27050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200" spc="3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STYLE DES SOUS-TITRES DU MASQU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fld id="{92EC39F2-7773-9641-957D-47E9D005E398}" type="datetime1">
              <a:rPr lang="fr-FR" smtClean="0"/>
              <a:t>22/11/2021</a:t>
            </a:fld>
            <a:endParaRPr lang="fr-FR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48000" y="4767263"/>
            <a:ext cx="3352800" cy="2057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endParaRPr lang="fr-FR"/>
          </a:p>
        </p:txBody>
      </p:sp>
      <p:sp>
        <p:nvSpPr>
          <p:cNvPr id="12" name="Slide Number Placeholder 6"/>
          <p:cNvSpPr>
            <a:spLocks noGrp="1"/>
          </p:cNvSpPr>
          <p:nvPr>
            <p:ph type="sldNum" sz="quarter" idx="4"/>
          </p:nvPr>
        </p:nvSpPr>
        <p:spPr bwMode="auto">
          <a:xfrm>
            <a:off x="380999" y="4766310"/>
            <a:ext cx="1378699" cy="205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B679D5AC-1C0B-9841-873A-C169B35CF2CF}" type="slidenum">
              <a:rPr lang="fr-FR" smtClean="0"/>
              <a:pPr/>
              <a:t>‹N°›</a:t>
            </a:fld>
            <a:r>
              <a:rPr lang="en-US"/>
              <a:t> |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5353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-11314"/>
            <a:ext cx="9144000" cy="640007"/>
          </a:xfrm>
          <a:prstGeom prst="rect">
            <a:avLst/>
          </a:prstGeom>
          <a:solidFill>
            <a:srgbClr val="B501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Arial"/>
              <a:cs typeface="Arial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1" y="352067"/>
            <a:ext cx="9144000" cy="276627"/>
          </a:xfrm>
          <a:prstGeom prst="rect">
            <a:avLst/>
          </a:prstGeom>
          <a:solidFill>
            <a:srgbClr val="8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"/>
              <a:cs typeface="Arial"/>
            </a:endParaRPr>
          </a:p>
        </p:txBody>
      </p:sp>
      <p:pic>
        <p:nvPicPr>
          <p:cNvPr id="2" name="Image 1" descr="LEN text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29587"/>
            <a:ext cx="1008112" cy="290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5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71" r:id="rId3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1400" b="1" kern="1200" cap="none" spc="300" baseline="0">
          <a:ln>
            <a:noFill/>
          </a:ln>
          <a:solidFill>
            <a:schemeClr val="bg1"/>
          </a:solidFill>
          <a:effectLst/>
          <a:latin typeface="Arial"/>
          <a:ea typeface="+mj-ea"/>
          <a:cs typeface="Arial"/>
        </a:defRPr>
      </a:lvl1pPr>
    </p:titleStyle>
    <p:bodyStyle>
      <a:lvl1pPr marL="27432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 2" pitchFamily="18" charset="2"/>
        <a:buChar char=""/>
        <a:defRPr sz="2000" kern="1200" spc="150" baseline="0">
          <a:solidFill>
            <a:schemeClr val="tx2"/>
          </a:solidFill>
          <a:latin typeface="Arial"/>
          <a:ea typeface="+mn-ea"/>
          <a:cs typeface="Arial"/>
        </a:defRPr>
      </a:lvl1pPr>
      <a:lvl2pPr marL="548640" indent="-182880" algn="l" defTabSz="914400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800" kern="1200" spc="100" baseline="0">
          <a:solidFill>
            <a:schemeClr val="tx2"/>
          </a:solidFill>
          <a:latin typeface="Arial"/>
          <a:ea typeface="+mn-ea"/>
          <a:cs typeface="Arial"/>
        </a:defRPr>
      </a:lvl2pPr>
      <a:lvl3pPr marL="822960" indent="-18288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600" kern="1200" spc="100" baseline="0">
          <a:solidFill>
            <a:schemeClr val="tx2"/>
          </a:solidFill>
          <a:latin typeface="Arial"/>
          <a:ea typeface="+mn-ea"/>
          <a:cs typeface="Arial"/>
        </a:defRPr>
      </a:lvl3pPr>
      <a:lvl4pPr marL="1097280" indent="-182880" algn="l" defTabSz="914400" rtl="0" eaLnBrk="1" latinLnBrk="0" hangingPunct="1">
        <a:spcBef>
          <a:spcPct val="20000"/>
        </a:spcBef>
        <a:buClr>
          <a:schemeClr val="accent4"/>
        </a:buClr>
        <a:buFont typeface="Wingdings" pitchFamily="2" charset="2"/>
        <a:buChar char="§"/>
        <a:defRPr sz="1400" kern="1200">
          <a:solidFill>
            <a:schemeClr val="tx2"/>
          </a:solidFill>
          <a:latin typeface="Arial"/>
          <a:ea typeface="+mn-ea"/>
          <a:cs typeface="Arial"/>
        </a:defRPr>
      </a:lvl4pPr>
      <a:lvl5pPr marL="1280160" indent="-182880" algn="l" defTabSz="914400" rtl="0" eaLnBrk="1" latinLnBrk="0" hangingPunct="1">
        <a:spcBef>
          <a:spcPct val="20000"/>
        </a:spcBef>
        <a:buClr>
          <a:schemeClr val="accent6"/>
        </a:buClr>
        <a:buFont typeface="Wingdings" pitchFamily="2" charset="2"/>
        <a:buChar char="§"/>
        <a:defRPr sz="1300" kern="1200" spc="100" baseline="0">
          <a:solidFill>
            <a:schemeClr val="tx2"/>
          </a:solidFill>
          <a:latin typeface="Arial"/>
          <a:ea typeface="+mn-ea"/>
          <a:cs typeface="Arial"/>
        </a:defRPr>
      </a:lvl5pPr>
      <a:lvl6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1828800" indent="-182880" algn="l" defTabSz="914400" rtl="0" eaLnBrk="1" latinLnBrk="0" hangingPunct="1">
        <a:spcBef>
          <a:spcPct val="20000"/>
        </a:spcBef>
        <a:buClr>
          <a:schemeClr val="accent2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377440" indent="-182880" algn="l" defTabSz="914400" rtl="0" eaLnBrk="1" latinLnBrk="0" hangingPunct="1">
        <a:spcBef>
          <a:spcPct val="20000"/>
        </a:spcBef>
        <a:buClr>
          <a:schemeClr val="accent5"/>
        </a:buClr>
        <a:buFont typeface="Wingdings" pitchFamily="2" charset="2"/>
        <a:buChar char="§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5.png"/><Relationship Id="rId4" Type="http://schemas.openxmlformats.org/officeDocument/2006/relationships/image" Target="../media/image4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8.png"/><Relationship Id="rId4" Type="http://schemas.openxmlformats.org/officeDocument/2006/relationships/image" Target="../media/image46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1.png"/><Relationship Id="rId4" Type="http://schemas.openxmlformats.org/officeDocument/2006/relationships/image" Target="../media/image50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5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1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7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4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8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1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3.png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5.png"/><Relationship Id="rId4" Type="http://schemas.openxmlformats.org/officeDocument/2006/relationships/image" Target="../media/image50.sv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7.png"/><Relationship Id="rId4" Type="http://schemas.openxmlformats.org/officeDocument/2006/relationships/image" Target="../media/image50.sv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334509"/>
            <a:ext cx="8636876" cy="1371600"/>
          </a:xfrm>
        </p:spPr>
        <p:txBody>
          <a:bodyPr/>
          <a:lstStyle/>
          <a:p>
            <a:pPr>
              <a:spcAft>
                <a:spcPts val="1800"/>
              </a:spcAft>
            </a:pPr>
            <a:br>
              <a:rPr lang="pt-PT" sz="1200" b="1" dirty="0"/>
            </a:br>
            <a:br>
              <a:rPr lang="pt-PT" sz="1200" b="1" dirty="0"/>
            </a:br>
            <a:br>
              <a:rPr lang="pt-PT" sz="1200" b="1" dirty="0"/>
            </a:br>
            <a:br>
              <a:rPr lang="pt-PT" sz="1200" b="1" dirty="0"/>
            </a:br>
            <a:r>
              <a:rPr lang="pt-PT" sz="4800" b="1" dirty="0"/>
              <a:t>e-Baltic</a:t>
            </a:r>
            <a:br>
              <a:rPr lang="pt-PT" sz="4000" b="1" dirty="0"/>
            </a:br>
            <a:r>
              <a:rPr lang="pt-PT" sz="2800" b="1" dirty="0"/>
              <a:t>Manual de Instalação</a:t>
            </a:r>
          </a:p>
        </p:txBody>
      </p:sp>
    </p:spTree>
    <p:extLst>
      <p:ext uri="{BB962C8B-B14F-4D97-AF65-F5344CB8AC3E}">
        <p14:creationId xmlns:p14="http://schemas.microsoft.com/office/powerpoint/2010/main" val="172958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0</a:t>
            </a:fld>
            <a:r>
              <a:rPr lang="pt-PT"/>
              <a:t> |</a:t>
            </a:r>
          </a:p>
        </p:txBody>
      </p:sp>
      <p:pic>
        <p:nvPicPr>
          <p:cNvPr id="10" name="Imagem 9" descr="Diagrama&#10;&#10;Descrição gerada automaticamente">
            <a:extLst>
              <a:ext uri="{FF2B5EF4-FFF2-40B4-BE49-F238E27FC236}">
                <a16:creationId xmlns:a16="http://schemas.microsoft.com/office/drawing/2014/main" id="{FC57265F-EE9F-4FD0-883F-21E78262405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805" r="15323"/>
          <a:stretch/>
        </p:blipFill>
        <p:spPr>
          <a:xfrm>
            <a:off x="3191478" y="788212"/>
            <a:ext cx="5682664" cy="3952421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8" name="CaixaDeTexto 17">
            <a:extLst>
              <a:ext uri="{FF2B5EF4-FFF2-40B4-BE49-F238E27FC236}">
                <a16:creationId xmlns:a16="http://schemas.microsoft.com/office/drawing/2014/main" id="{9C427A16-C6B0-4D60-8516-D45B26E2FD3F}"/>
              </a:ext>
            </a:extLst>
          </p:cNvPr>
          <p:cNvSpPr txBox="1"/>
          <p:nvPr/>
        </p:nvSpPr>
        <p:spPr>
          <a:xfrm>
            <a:off x="203201" y="2814863"/>
            <a:ext cx="2988278" cy="1357356"/>
          </a:xfrm>
          <a:prstGeom prst="rect">
            <a:avLst/>
          </a:prstGeom>
          <a:solidFill>
            <a:srgbClr val="B50130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SE 1:</a:t>
            </a:r>
          </a:p>
          <a:p>
            <a:pPr>
              <a:spcAft>
                <a:spcPts val="600"/>
              </a:spcAft>
            </a:pPr>
            <a:r>
              <a:rPr lang="pt-PT" sz="1400" dirty="0">
                <a:solidFill>
                  <a:schemeClr val="bg1"/>
                </a:solidFill>
              </a:rPr>
              <a:t>Retire os parafusos que fixam as abas de proteção à base de assentamento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solidFill>
                  <a:schemeClr val="bg1"/>
                </a:solidFill>
              </a:rPr>
              <a:t>2 parafusos em cada canto</a:t>
            </a: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41A6539E-11C8-47EE-B64A-95AC838700C8}"/>
              </a:ext>
            </a:extLst>
          </p:cNvPr>
          <p:cNvGrpSpPr/>
          <p:nvPr/>
        </p:nvGrpSpPr>
        <p:grpSpPr>
          <a:xfrm>
            <a:off x="269858" y="788212"/>
            <a:ext cx="2651761" cy="1798958"/>
            <a:chOff x="232335" y="1687026"/>
            <a:chExt cx="4320000" cy="2930694"/>
          </a:xfrm>
        </p:grpSpPr>
        <p:pic>
          <p:nvPicPr>
            <p:cNvPr id="19" name="Imagem 18" descr="Uma imagem contendo Desenho técnico&#10;&#10;Descrição gerada automaticamente">
              <a:extLst>
                <a:ext uri="{FF2B5EF4-FFF2-40B4-BE49-F238E27FC236}">
                  <a16:creationId xmlns:a16="http://schemas.microsoft.com/office/drawing/2014/main" id="{A50EE2C3-FF34-4595-A422-51ABA731BF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15157" y="1985265"/>
              <a:ext cx="4154356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F97C2AE1-C4D0-43BE-98C7-13191B58416B}"/>
                </a:ext>
              </a:extLst>
            </p:cNvPr>
            <p:cNvSpPr/>
            <p:nvPr/>
          </p:nvSpPr>
          <p:spPr>
            <a:xfrm>
              <a:off x="232335" y="1687026"/>
              <a:ext cx="4320000" cy="288000"/>
            </a:xfrm>
            <a:prstGeom prst="rect">
              <a:avLst/>
            </a:prstGeom>
            <a:solidFill>
              <a:srgbClr val="B50130"/>
            </a:solidFill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PT" sz="1200"/>
                <a:t>CASO 1</a:t>
              </a:r>
            </a:p>
          </p:txBody>
        </p:sp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CBC3335B-6AC2-4C6A-BFBF-3440ED2315E0}"/>
                </a:ext>
              </a:extLst>
            </p:cNvPr>
            <p:cNvSpPr/>
            <p:nvPr/>
          </p:nvSpPr>
          <p:spPr>
            <a:xfrm>
              <a:off x="232335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3" name="Retângulo 22">
            <a:extLst>
              <a:ext uri="{FF2B5EF4-FFF2-40B4-BE49-F238E27FC236}">
                <a16:creationId xmlns:a16="http://schemas.microsoft.com/office/drawing/2014/main" id="{3CF41DB2-D528-4028-90EB-23EDCB5C51F8}"/>
              </a:ext>
            </a:extLst>
          </p:cNvPr>
          <p:cNvSpPr/>
          <p:nvPr/>
        </p:nvSpPr>
        <p:spPr>
          <a:xfrm>
            <a:off x="1436370" y="1920240"/>
            <a:ext cx="297180" cy="411480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3615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147587F3-5EEB-4FD2-966A-F6258B5900F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808" r="19321" b="1974"/>
          <a:stretch/>
        </p:blipFill>
        <p:spPr>
          <a:xfrm>
            <a:off x="3191477" y="788212"/>
            <a:ext cx="5682277" cy="3952421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1</a:t>
            </a:fld>
            <a:r>
              <a:rPr lang="pt-PT"/>
              <a:t> |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9C427A16-C6B0-4D60-8516-D45B26E2FD3F}"/>
              </a:ext>
            </a:extLst>
          </p:cNvPr>
          <p:cNvSpPr txBox="1"/>
          <p:nvPr/>
        </p:nvSpPr>
        <p:spPr>
          <a:xfrm>
            <a:off x="270245" y="2814863"/>
            <a:ext cx="2921233" cy="1107996"/>
          </a:xfrm>
          <a:prstGeom prst="rect">
            <a:avLst/>
          </a:prstGeom>
          <a:solidFill>
            <a:srgbClr val="B50130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SE 2:</a:t>
            </a:r>
          </a:p>
          <a:p>
            <a:pPr>
              <a:spcAft>
                <a:spcPts val="600"/>
              </a:spcAft>
            </a:pPr>
            <a:r>
              <a:rPr lang="pt-PT" sz="1400">
                <a:solidFill>
                  <a:schemeClr val="bg1"/>
                </a:solidFill>
              </a:rPr>
              <a:t>Desaperte os parafusos das quatro uniões das abas de proteção.</a:t>
            </a:r>
          </a:p>
          <a:p>
            <a:pPr>
              <a:spcAft>
                <a:spcPts val="600"/>
              </a:spcAft>
            </a:pPr>
            <a:r>
              <a:rPr lang="pt-PT" sz="1400">
                <a:solidFill>
                  <a:schemeClr val="bg1"/>
                </a:solidFill>
              </a:rPr>
              <a:t>Tenha cuidado para não os retirar.</a:t>
            </a: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3801DB83-3F85-4D8F-8A8B-66A2BA67B700}"/>
              </a:ext>
            </a:extLst>
          </p:cNvPr>
          <p:cNvGrpSpPr/>
          <p:nvPr/>
        </p:nvGrpSpPr>
        <p:grpSpPr>
          <a:xfrm>
            <a:off x="269858" y="788212"/>
            <a:ext cx="2651761" cy="1798958"/>
            <a:chOff x="232335" y="1687026"/>
            <a:chExt cx="4320000" cy="2930694"/>
          </a:xfrm>
        </p:grpSpPr>
        <p:pic>
          <p:nvPicPr>
            <p:cNvPr id="19" name="Imagem 18" descr="Uma imagem contendo Desenho técnico&#10;&#10;Descrição gerada automaticamente">
              <a:extLst>
                <a:ext uri="{FF2B5EF4-FFF2-40B4-BE49-F238E27FC236}">
                  <a16:creationId xmlns:a16="http://schemas.microsoft.com/office/drawing/2014/main" id="{052314A6-C172-44F9-A775-F35DC4F4F27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15157" y="1985265"/>
              <a:ext cx="4154356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53DE1EE3-6CAF-4D06-AF8B-D08BBC4DA5DA}"/>
                </a:ext>
              </a:extLst>
            </p:cNvPr>
            <p:cNvSpPr/>
            <p:nvPr/>
          </p:nvSpPr>
          <p:spPr>
            <a:xfrm>
              <a:off x="232335" y="1687026"/>
              <a:ext cx="4320000" cy="288000"/>
            </a:xfrm>
            <a:prstGeom prst="rect">
              <a:avLst/>
            </a:prstGeom>
            <a:solidFill>
              <a:srgbClr val="B50130"/>
            </a:solidFill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PT" sz="1200"/>
                <a:t>CASO 1</a:t>
              </a:r>
            </a:p>
          </p:txBody>
        </p:sp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83AB45B5-7D14-4ADE-B600-D85A189A305A}"/>
                </a:ext>
              </a:extLst>
            </p:cNvPr>
            <p:cNvSpPr/>
            <p:nvPr/>
          </p:nvSpPr>
          <p:spPr>
            <a:xfrm>
              <a:off x="232335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3" name="Retângulo 22">
            <a:extLst>
              <a:ext uri="{FF2B5EF4-FFF2-40B4-BE49-F238E27FC236}">
                <a16:creationId xmlns:a16="http://schemas.microsoft.com/office/drawing/2014/main" id="{82C89053-7C98-47E5-BB64-8174AA47581E}"/>
              </a:ext>
            </a:extLst>
          </p:cNvPr>
          <p:cNvSpPr/>
          <p:nvPr/>
        </p:nvSpPr>
        <p:spPr>
          <a:xfrm>
            <a:off x="1436370" y="1920240"/>
            <a:ext cx="297180" cy="411480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1066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Diagrama&#10;&#10;Descrição gerada automaticamente">
            <a:extLst>
              <a:ext uri="{FF2B5EF4-FFF2-40B4-BE49-F238E27FC236}">
                <a16:creationId xmlns:a16="http://schemas.microsoft.com/office/drawing/2014/main" id="{6583957A-4DB3-4175-8791-81D28ADE745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474" r="12965"/>
          <a:stretch/>
        </p:blipFill>
        <p:spPr>
          <a:xfrm>
            <a:off x="3191476" y="788212"/>
            <a:ext cx="5682277" cy="3952421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2</a:t>
            </a:fld>
            <a:r>
              <a:rPr lang="pt-PT"/>
              <a:t> |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9C427A16-C6B0-4D60-8516-D45B26E2FD3F}"/>
              </a:ext>
            </a:extLst>
          </p:cNvPr>
          <p:cNvSpPr txBox="1"/>
          <p:nvPr/>
        </p:nvSpPr>
        <p:spPr>
          <a:xfrm>
            <a:off x="270245" y="2814863"/>
            <a:ext cx="2921233" cy="1754326"/>
          </a:xfrm>
          <a:prstGeom prst="rect">
            <a:avLst/>
          </a:prstGeom>
          <a:solidFill>
            <a:srgbClr val="B50130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SE 3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400" dirty="0">
                <a:solidFill>
                  <a:schemeClr val="bg1"/>
                </a:solidFill>
              </a:rPr>
              <a:t>Desaperte os parafusos das abas que se dobram para se ajustarem ao ângulo da cobertura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400" dirty="0">
                <a:solidFill>
                  <a:schemeClr val="bg1"/>
                </a:solidFill>
              </a:rPr>
              <a:t>Retire os parafusos da aba que segue o ângulo da cobertura.</a:t>
            </a:r>
          </a:p>
        </p:txBody>
      </p:sp>
      <p:grpSp>
        <p:nvGrpSpPr>
          <p:cNvPr id="17" name="Agrupar 16">
            <a:extLst>
              <a:ext uri="{FF2B5EF4-FFF2-40B4-BE49-F238E27FC236}">
                <a16:creationId xmlns:a16="http://schemas.microsoft.com/office/drawing/2014/main" id="{8E9C651D-207B-4C19-B514-99BAE8C7AD27}"/>
              </a:ext>
            </a:extLst>
          </p:cNvPr>
          <p:cNvGrpSpPr/>
          <p:nvPr/>
        </p:nvGrpSpPr>
        <p:grpSpPr>
          <a:xfrm>
            <a:off x="269858" y="788212"/>
            <a:ext cx="2651761" cy="1798958"/>
            <a:chOff x="232335" y="1687026"/>
            <a:chExt cx="4320000" cy="2930694"/>
          </a:xfrm>
        </p:grpSpPr>
        <p:pic>
          <p:nvPicPr>
            <p:cNvPr id="19" name="Imagem 18" descr="Uma imagem contendo Desenho técnico&#10;&#10;Descrição gerada automaticamente">
              <a:extLst>
                <a:ext uri="{FF2B5EF4-FFF2-40B4-BE49-F238E27FC236}">
                  <a16:creationId xmlns:a16="http://schemas.microsoft.com/office/drawing/2014/main" id="{FF44705C-F74E-4633-A58B-CC20F35D7EF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15157" y="1985265"/>
              <a:ext cx="4154356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0" name="Retângulo 19">
              <a:extLst>
                <a:ext uri="{FF2B5EF4-FFF2-40B4-BE49-F238E27FC236}">
                  <a16:creationId xmlns:a16="http://schemas.microsoft.com/office/drawing/2014/main" id="{DFF1B6F7-D31F-4622-9CC2-C6981CF0653D}"/>
                </a:ext>
              </a:extLst>
            </p:cNvPr>
            <p:cNvSpPr/>
            <p:nvPr/>
          </p:nvSpPr>
          <p:spPr>
            <a:xfrm>
              <a:off x="232335" y="1687026"/>
              <a:ext cx="4320000" cy="288000"/>
            </a:xfrm>
            <a:prstGeom prst="rect">
              <a:avLst/>
            </a:prstGeom>
            <a:solidFill>
              <a:srgbClr val="B50130"/>
            </a:solidFill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PT" sz="1200"/>
                <a:t>CASO 1</a:t>
              </a:r>
            </a:p>
          </p:txBody>
        </p:sp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056F72C1-6887-4A2B-831E-EE0681B64F48}"/>
                </a:ext>
              </a:extLst>
            </p:cNvPr>
            <p:cNvSpPr/>
            <p:nvPr/>
          </p:nvSpPr>
          <p:spPr>
            <a:xfrm>
              <a:off x="232335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3" name="Retângulo 22">
            <a:extLst>
              <a:ext uri="{FF2B5EF4-FFF2-40B4-BE49-F238E27FC236}">
                <a16:creationId xmlns:a16="http://schemas.microsoft.com/office/drawing/2014/main" id="{1D5C61BB-C70C-4974-A9C3-1F0F0458850D}"/>
              </a:ext>
            </a:extLst>
          </p:cNvPr>
          <p:cNvSpPr/>
          <p:nvPr/>
        </p:nvSpPr>
        <p:spPr>
          <a:xfrm>
            <a:off x="1436370" y="1920240"/>
            <a:ext cx="297180" cy="411480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423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3</a:t>
            </a:fld>
            <a:r>
              <a:rPr lang="pt-PT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3399751" y="777986"/>
            <a:ext cx="234449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t-PT" sz="1400">
                <a:solidFill>
                  <a:schemeClr val="bg1">
                    <a:lumMod val="50000"/>
                  </a:schemeClr>
                </a:solidFill>
              </a:rPr>
              <a:t>A base de assentamento ajustável permite ajustar o ângulo em ambas as direções.</a:t>
            </a: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135A1866-F14C-4462-83BF-1C4543801388}"/>
              </a:ext>
            </a:extLst>
          </p:cNvPr>
          <p:cNvGrpSpPr/>
          <p:nvPr/>
        </p:nvGrpSpPr>
        <p:grpSpPr>
          <a:xfrm>
            <a:off x="168000" y="1687026"/>
            <a:ext cx="4320000" cy="2930694"/>
            <a:chOff x="232335" y="1687026"/>
            <a:chExt cx="4320000" cy="2930694"/>
          </a:xfrm>
        </p:grpSpPr>
        <p:pic>
          <p:nvPicPr>
            <p:cNvPr id="9" name="Imagem 8" descr="Uma imagem contendo Desenho técnico&#10;&#10;Descrição gerada automaticamente">
              <a:extLst>
                <a:ext uri="{FF2B5EF4-FFF2-40B4-BE49-F238E27FC236}">
                  <a16:creationId xmlns:a16="http://schemas.microsoft.com/office/drawing/2014/main" id="{4BE690F1-3CAB-497A-8BAC-333204F20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15157" y="1985265"/>
              <a:ext cx="4154356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5" name="Retângulo 4">
              <a:extLst>
                <a:ext uri="{FF2B5EF4-FFF2-40B4-BE49-F238E27FC236}">
                  <a16:creationId xmlns:a16="http://schemas.microsoft.com/office/drawing/2014/main" id="{5D0846C5-2502-427E-BAB5-218BBAAFEC50}"/>
                </a:ext>
              </a:extLst>
            </p:cNvPr>
            <p:cNvSpPr/>
            <p:nvPr/>
          </p:nvSpPr>
          <p:spPr>
            <a:xfrm>
              <a:off x="232335" y="1687026"/>
              <a:ext cx="4320000" cy="288000"/>
            </a:xfrm>
            <a:prstGeom prst="rect">
              <a:avLst/>
            </a:prstGeom>
            <a:solidFill>
              <a:srgbClr val="B50130"/>
            </a:solidFill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PT"/>
                <a:t>CASO 1</a:t>
              </a:r>
            </a:p>
          </p:txBody>
        </p:sp>
        <p:sp>
          <p:nvSpPr>
            <p:cNvPr id="15" name="Retângulo 14">
              <a:extLst>
                <a:ext uri="{FF2B5EF4-FFF2-40B4-BE49-F238E27FC236}">
                  <a16:creationId xmlns:a16="http://schemas.microsoft.com/office/drawing/2014/main" id="{C79D4995-3C55-4451-A405-482090A36652}"/>
                </a:ext>
              </a:extLst>
            </p:cNvPr>
            <p:cNvSpPr/>
            <p:nvPr/>
          </p:nvSpPr>
          <p:spPr>
            <a:xfrm>
              <a:off x="232335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19" name="Retângulo 18">
            <a:extLst>
              <a:ext uri="{FF2B5EF4-FFF2-40B4-BE49-F238E27FC236}">
                <a16:creationId xmlns:a16="http://schemas.microsoft.com/office/drawing/2014/main" id="{1643F9E0-E8DF-456C-9EA4-D688EB2383A8}"/>
              </a:ext>
            </a:extLst>
          </p:cNvPr>
          <p:cNvSpPr/>
          <p:nvPr/>
        </p:nvSpPr>
        <p:spPr>
          <a:xfrm>
            <a:off x="64988" y="1630473"/>
            <a:ext cx="4504212" cy="304856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628C18F7-ACF2-4041-B3FE-A66F35A4940E}"/>
              </a:ext>
            </a:extLst>
          </p:cNvPr>
          <p:cNvGrpSpPr/>
          <p:nvPr/>
        </p:nvGrpSpPr>
        <p:grpSpPr>
          <a:xfrm>
            <a:off x="4656000" y="1687026"/>
            <a:ext cx="4320000" cy="2930694"/>
            <a:chOff x="4683773" y="1687026"/>
            <a:chExt cx="4320000" cy="2930694"/>
          </a:xfrm>
        </p:grpSpPr>
        <p:pic>
          <p:nvPicPr>
            <p:cNvPr id="20" name="Imagem 19" descr="Diagrama&#10;&#10;Descrição gerada automaticamente">
              <a:extLst>
                <a:ext uri="{FF2B5EF4-FFF2-40B4-BE49-F238E27FC236}">
                  <a16:creationId xmlns:a16="http://schemas.microsoft.com/office/drawing/2014/main" id="{F1EC19B6-E2B6-406C-968B-633F1AAA09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31773" y="1985265"/>
              <a:ext cx="4224000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272A59D1-EC6C-4944-A588-992726EFB2C2}"/>
                </a:ext>
              </a:extLst>
            </p:cNvPr>
            <p:cNvSpPr/>
            <p:nvPr/>
          </p:nvSpPr>
          <p:spPr>
            <a:xfrm>
              <a:off x="4683773" y="1687026"/>
              <a:ext cx="4320000" cy="288000"/>
            </a:xfrm>
            <a:prstGeom prst="rect">
              <a:avLst/>
            </a:prstGeom>
            <a:solidFill>
              <a:srgbClr val="800000"/>
            </a:solidFill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PT"/>
                <a:t>CASO 2</a:t>
              </a: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586763FA-DF1A-4584-8DFB-8C515B021284}"/>
                </a:ext>
              </a:extLst>
            </p:cNvPr>
            <p:cNvSpPr/>
            <p:nvPr/>
          </p:nvSpPr>
          <p:spPr>
            <a:xfrm>
              <a:off x="4683773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06490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4</a:t>
            </a:fld>
            <a:r>
              <a:rPr lang="pt-PT"/>
              <a:t> |</a:t>
            </a:r>
          </a:p>
        </p:txBody>
      </p:sp>
      <p:pic>
        <p:nvPicPr>
          <p:cNvPr id="10" name="Imagem 9" descr="Diagrama&#10;&#10;Descrição gerada automaticamente">
            <a:extLst>
              <a:ext uri="{FF2B5EF4-FFF2-40B4-BE49-F238E27FC236}">
                <a16:creationId xmlns:a16="http://schemas.microsoft.com/office/drawing/2014/main" id="{FC57265F-EE9F-4FD0-883F-21E78262405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805" r="15323"/>
          <a:stretch/>
        </p:blipFill>
        <p:spPr>
          <a:xfrm>
            <a:off x="3191478" y="788212"/>
            <a:ext cx="5682664" cy="3952421"/>
          </a:xfrm>
          <a:prstGeom prst="rect">
            <a:avLst/>
          </a:prstGeom>
          <a:ln w="12700">
            <a:solidFill>
              <a:srgbClr val="800000"/>
            </a:solidFill>
          </a:ln>
        </p:spPr>
      </p:pic>
      <p:sp>
        <p:nvSpPr>
          <p:cNvPr id="18" name="CaixaDeTexto 17">
            <a:extLst>
              <a:ext uri="{FF2B5EF4-FFF2-40B4-BE49-F238E27FC236}">
                <a16:creationId xmlns:a16="http://schemas.microsoft.com/office/drawing/2014/main" id="{9C427A16-C6B0-4D60-8516-D45B26E2FD3F}"/>
              </a:ext>
            </a:extLst>
          </p:cNvPr>
          <p:cNvSpPr txBox="1"/>
          <p:nvPr/>
        </p:nvSpPr>
        <p:spPr>
          <a:xfrm>
            <a:off x="269859" y="2814863"/>
            <a:ext cx="2921620" cy="1357356"/>
          </a:xfrm>
          <a:prstGeom prst="rect">
            <a:avLst/>
          </a:prstGeom>
          <a:solidFill>
            <a:srgbClr val="800000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SE 1:</a:t>
            </a:r>
          </a:p>
          <a:p>
            <a:pPr>
              <a:spcAft>
                <a:spcPts val="600"/>
              </a:spcAft>
            </a:pPr>
            <a:r>
              <a:rPr lang="pt-PT" sz="1400" dirty="0">
                <a:solidFill>
                  <a:schemeClr val="bg1"/>
                </a:solidFill>
              </a:rPr>
              <a:t>Retire os parafusos que fixam as abas de proteção à base de assentamento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solidFill>
                  <a:schemeClr val="bg1"/>
                </a:solidFill>
              </a:rPr>
              <a:t>2 parafusos em cada canto</a:t>
            </a:r>
          </a:p>
        </p:txBody>
      </p:sp>
      <p:grpSp>
        <p:nvGrpSpPr>
          <p:cNvPr id="19" name="Agrupar 18">
            <a:extLst>
              <a:ext uri="{FF2B5EF4-FFF2-40B4-BE49-F238E27FC236}">
                <a16:creationId xmlns:a16="http://schemas.microsoft.com/office/drawing/2014/main" id="{7AC4D4E8-A5C3-44A9-ABBA-160F3592B422}"/>
              </a:ext>
            </a:extLst>
          </p:cNvPr>
          <p:cNvGrpSpPr/>
          <p:nvPr/>
        </p:nvGrpSpPr>
        <p:grpSpPr>
          <a:xfrm>
            <a:off x="269858" y="788212"/>
            <a:ext cx="2651761" cy="1798958"/>
            <a:chOff x="4683773" y="1687026"/>
            <a:chExt cx="4320000" cy="2930694"/>
          </a:xfrm>
        </p:grpSpPr>
        <p:pic>
          <p:nvPicPr>
            <p:cNvPr id="20" name="Imagem 19" descr="Diagrama&#10;&#10;Descrição gerada automaticamente">
              <a:extLst>
                <a:ext uri="{FF2B5EF4-FFF2-40B4-BE49-F238E27FC236}">
                  <a16:creationId xmlns:a16="http://schemas.microsoft.com/office/drawing/2014/main" id="{E003BD76-170A-4B62-BA33-A0BEB06F5B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31773" y="1985265"/>
              <a:ext cx="4224000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94917591-4855-46BA-AB8B-03B819A70AE0}"/>
                </a:ext>
              </a:extLst>
            </p:cNvPr>
            <p:cNvSpPr/>
            <p:nvPr/>
          </p:nvSpPr>
          <p:spPr>
            <a:xfrm>
              <a:off x="4683773" y="1687026"/>
              <a:ext cx="4320000" cy="288000"/>
            </a:xfrm>
            <a:prstGeom prst="rect">
              <a:avLst/>
            </a:prstGeom>
            <a:solidFill>
              <a:srgbClr val="800000"/>
            </a:solidFill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PT" sz="1200"/>
                <a:t>CASO 2</a:t>
              </a: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A89DF7B7-5943-4104-B398-8AF5E9F37A09}"/>
                </a:ext>
              </a:extLst>
            </p:cNvPr>
            <p:cNvSpPr/>
            <p:nvPr/>
          </p:nvSpPr>
          <p:spPr>
            <a:xfrm>
              <a:off x="4683773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8" name="Retângulo 27">
            <a:extLst>
              <a:ext uri="{FF2B5EF4-FFF2-40B4-BE49-F238E27FC236}">
                <a16:creationId xmlns:a16="http://schemas.microsoft.com/office/drawing/2014/main" id="{F41DFCCC-F039-4634-ABC2-A9D138A28AAA}"/>
              </a:ext>
            </a:extLst>
          </p:cNvPr>
          <p:cNvSpPr/>
          <p:nvPr/>
        </p:nvSpPr>
        <p:spPr>
          <a:xfrm>
            <a:off x="1436370" y="1920240"/>
            <a:ext cx="297180" cy="411480"/>
          </a:xfrm>
          <a:prstGeom prst="rect">
            <a:avLst/>
          </a:prstGeom>
          <a:noFill/>
          <a:ln w="12700">
            <a:solidFill>
              <a:srgbClr val="8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026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147587F3-5EEB-4FD2-966A-F6258B5900F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808" r="19321" b="1974"/>
          <a:stretch/>
        </p:blipFill>
        <p:spPr>
          <a:xfrm>
            <a:off x="3191477" y="788212"/>
            <a:ext cx="5682277" cy="3952421"/>
          </a:xfrm>
          <a:prstGeom prst="rect">
            <a:avLst/>
          </a:prstGeom>
          <a:ln w="12700">
            <a:solidFill>
              <a:srgbClr val="80000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5</a:t>
            </a:fld>
            <a:r>
              <a:rPr lang="pt-PT"/>
              <a:t> |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9C427A16-C6B0-4D60-8516-D45B26E2FD3F}"/>
              </a:ext>
            </a:extLst>
          </p:cNvPr>
          <p:cNvSpPr txBox="1"/>
          <p:nvPr/>
        </p:nvSpPr>
        <p:spPr>
          <a:xfrm>
            <a:off x="270245" y="2814863"/>
            <a:ext cx="2921233" cy="1107996"/>
          </a:xfrm>
          <a:prstGeom prst="rect">
            <a:avLst/>
          </a:prstGeom>
          <a:solidFill>
            <a:srgbClr val="800000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4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SE 2:</a:t>
            </a:r>
          </a:p>
          <a:p>
            <a:pPr>
              <a:spcAft>
                <a:spcPts val="600"/>
              </a:spcAft>
            </a:pPr>
            <a:r>
              <a:rPr lang="pt-PT" sz="1400">
                <a:solidFill>
                  <a:schemeClr val="bg1"/>
                </a:solidFill>
              </a:rPr>
              <a:t>Desaperte os parafusos das quatro uniões das abas de proteção.</a:t>
            </a:r>
          </a:p>
          <a:p>
            <a:pPr>
              <a:spcAft>
                <a:spcPts val="600"/>
              </a:spcAft>
            </a:pPr>
            <a:r>
              <a:rPr lang="pt-PT" sz="1400">
                <a:solidFill>
                  <a:schemeClr val="bg1"/>
                </a:solidFill>
              </a:rPr>
              <a:t>Tenha cuidado para não os retirar.</a:t>
            </a:r>
          </a:p>
        </p:txBody>
      </p: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63F7C1A6-3202-4078-A86D-237F7C94FBB2}"/>
              </a:ext>
            </a:extLst>
          </p:cNvPr>
          <p:cNvGrpSpPr/>
          <p:nvPr/>
        </p:nvGrpSpPr>
        <p:grpSpPr>
          <a:xfrm>
            <a:off x="269858" y="788212"/>
            <a:ext cx="2651761" cy="1798958"/>
            <a:chOff x="4683773" y="1687026"/>
            <a:chExt cx="4320000" cy="2930694"/>
          </a:xfrm>
        </p:grpSpPr>
        <p:pic>
          <p:nvPicPr>
            <p:cNvPr id="15" name="Imagem 14" descr="Diagrama&#10;&#10;Descrição gerada automaticamente">
              <a:extLst>
                <a:ext uri="{FF2B5EF4-FFF2-40B4-BE49-F238E27FC236}">
                  <a16:creationId xmlns:a16="http://schemas.microsoft.com/office/drawing/2014/main" id="{576F0D26-688C-44E7-AD77-660D5C0768B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31773" y="1985265"/>
              <a:ext cx="4224000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7E17812D-653F-434E-ADB4-1106528353AA}"/>
                </a:ext>
              </a:extLst>
            </p:cNvPr>
            <p:cNvSpPr/>
            <p:nvPr/>
          </p:nvSpPr>
          <p:spPr>
            <a:xfrm>
              <a:off x="4683773" y="1687026"/>
              <a:ext cx="4320000" cy="288000"/>
            </a:xfrm>
            <a:prstGeom prst="rect">
              <a:avLst/>
            </a:prstGeom>
            <a:solidFill>
              <a:srgbClr val="800000"/>
            </a:solidFill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PT" sz="1200"/>
                <a:t>CASO 2</a:t>
              </a: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85D74090-981E-4C0C-A27F-6EFD51171BAB}"/>
                </a:ext>
              </a:extLst>
            </p:cNvPr>
            <p:cNvSpPr/>
            <p:nvPr/>
          </p:nvSpPr>
          <p:spPr>
            <a:xfrm>
              <a:off x="4683773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3" name="Retângulo 22">
            <a:extLst>
              <a:ext uri="{FF2B5EF4-FFF2-40B4-BE49-F238E27FC236}">
                <a16:creationId xmlns:a16="http://schemas.microsoft.com/office/drawing/2014/main" id="{4BF7A1F7-F30E-40C3-A9C2-B68D144A7597}"/>
              </a:ext>
            </a:extLst>
          </p:cNvPr>
          <p:cNvSpPr/>
          <p:nvPr/>
        </p:nvSpPr>
        <p:spPr>
          <a:xfrm>
            <a:off x="1436370" y="1920240"/>
            <a:ext cx="297180" cy="411480"/>
          </a:xfrm>
          <a:prstGeom prst="rect">
            <a:avLst/>
          </a:prstGeom>
          <a:noFill/>
          <a:ln w="12700">
            <a:solidFill>
              <a:srgbClr val="8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3931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6</a:t>
            </a:fld>
            <a:r>
              <a:rPr lang="pt-PT"/>
              <a:t> |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9C427A16-C6B0-4D60-8516-D45B26E2FD3F}"/>
              </a:ext>
            </a:extLst>
          </p:cNvPr>
          <p:cNvSpPr txBox="1"/>
          <p:nvPr/>
        </p:nvSpPr>
        <p:spPr>
          <a:xfrm>
            <a:off x="270245" y="2814863"/>
            <a:ext cx="2921233" cy="1969770"/>
          </a:xfrm>
          <a:prstGeom prst="rect">
            <a:avLst/>
          </a:prstGeom>
          <a:solidFill>
            <a:srgbClr val="800000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SE 3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400" dirty="0">
                <a:solidFill>
                  <a:schemeClr val="bg1"/>
                </a:solidFill>
              </a:rPr>
              <a:t>Desaperte os parafusos das abas que se dobram para se ajustarem ao ângulo da cobertura do edifício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PT" sz="1400" dirty="0">
                <a:solidFill>
                  <a:schemeClr val="bg1"/>
                </a:solidFill>
              </a:rPr>
              <a:t>Retire os parafusos da aba que segue o ângulo da cobertura do edifício.</a:t>
            </a:r>
          </a:p>
        </p:txBody>
      </p:sp>
      <p:pic>
        <p:nvPicPr>
          <p:cNvPr id="5" name="Imagem 4" descr="Diagrama&#10;&#10;Descrição gerada automaticamente">
            <a:extLst>
              <a:ext uri="{FF2B5EF4-FFF2-40B4-BE49-F238E27FC236}">
                <a16:creationId xmlns:a16="http://schemas.microsoft.com/office/drawing/2014/main" id="{41D2A829-7072-424E-84CF-D6BA2562813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342" r="12342"/>
          <a:stretch/>
        </p:blipFill>
        <p:spPr>
          <a:xfrm>
            <a:off x="3191476" y="788210"/>
            <a:ext cx="5682277" cy="3952421"/>
          </a:xfrm>
          <a:prstGeom prst="rect">
            <a:avLst/>
          </a:prstGeom>
          <a:ln w="12700">
            <a:solidFill>
              <a:srgbClr val="800000"/>
            </a:solidFill>
          </a:ln>
        </p:spPr>
      </p:pic>
      <p:grpSp>
        <p:nvGrpSpPr>
          <p:cNvPr id="14" name="Agrupar 13">
            <a:extLst>
              <a:ext uri="{FF2B5EF4-FFF2-40B4-BE49-F238E27FC236}">
                <a16:creationId xmlns:a16="http://schemas.microsoft.com/office/drawing/2014/main" id="{EB100A26-52ED-4138-9651-B5019B3925EB}"/>
              </a:ext>
            </a:extLst>
          </p:cNvPr>
          <p:cNvGrpSpPr/>
          <p:nvPr/>
        </p:nvGrpSpPr>
        <p:grpSpPr>
          <a:xfrm>
            <a:off x="269858" y="788212"/>
            <a:ext cx="2651761" cy="1798958"/>
            <a:chOff x="4683773" y="1687026"/>
            <a:chExt cx="4320000" cy="2930694"/>
          </a:xfrm>
        </p:grpSpPr>
        <p:pic>
          <p:nvPicPr>
            <p:cNvPr id="15" name="Imagem 14" descr="Diagrama&#10;&#10;Descrição gerada automaticamente">
              <a:extLst>
                <a:ext uri="{FF2B5EF4-FFF2-40B4-BE49-F238E27FC236}">
                  <a16:creationId xmlns:a16="http://schemas.microsoft.com/office/drawing/2014/main" id="{8283645C-ED10-47DD-9FF9-514132C941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31773" y="1985265"/>
              <a:ext cx="4224000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B0B8D6DD-082F-4936-8DCA-17FF6B03850D}"/>
                </a:ext>
              </a:extLst>
            </p:cNvPr>
            <p:cNvSpPr/>
            <p:nvPr/>
          </p:nvSpPr>
          <p:spPr>
            <a:xfrm>
              <a:off x="4683773" y="1687026"/>
              <a:ext cx="4320000" cy="288000"/>
            </a:xfrm>
            <a:prstGeom prst="rect">
              <a:avLst/>
            </a:prstGeom>
            <a:solidFill>
              <a:srgbClr val="800000"/>
            </a:solidFill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PT" sz="1200"/>
                <a:t>CASO 2</a:t>
              </a: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39770758-2C92-4CF2-BE5E-25F2DBF49E4E}"/>
                </a:ext>
              </a:extLst>
            </p:cNvPr>
            <p:cNvSpPr/>
            <p:nvPr/>
          </p:nvSpPr>
          <p:spPr>
            <a:xfrm>
              <a:off x="4683773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3" name="Retângulo 22">
            <a:extLst>
              <a:ext uri="{FF2B5EF4-FFF2-40B4-BE49-F238E27FC236}">
                <a16:creationId xmlns:a16="http://schemas.microsoft.com/office/drawing/2014/main" id="{0832481A-CA04-4FD7-AFF8-68A8CC6A8DD6}"/>
              </a:ext>
            </a:extLst>
          </p:cNvPr>
          <p:cNvSpPr/>
          <p:nvPr/>
        </p:nvSpPr>
        <p:spPr>
          <a:xfrm>
            <a:off x="1436370" y="1920240"/>
            <a:ext cx="297180" cy="411480"/>
          </a:xfrm>
          <a:prstGeom prst="rect">
            <a:avLst/>
          </a:prstGeom>
          <a:noFill/>
          <a:ln w="12700">
            <a:solidFill>
              <a:srgbClr val="8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860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Diagrama&#10;&#10;Descrição gerada automaticamente">
            <a:extLst>
              <a:ext uri="{FF2B5EF4-FFF2-40B4-BE49-F238E27FC236}">
                <a16:creationId xmlns:a16="http://schemas.microsoft.com/office/drawing/2014/main" id="{0B540061-50D1-4CC5-919A-61B3A2CC237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194" r="13474"/>
          <a:stretch/>
        </p:blipFill>
        <p:spPr>
          <a:xfrm>
            <a:off x="3191476" y="788210"/>
            <a:ext cx="5682277" cy="3952420"/>
          </a:xfrm>
          <a:prstGeom prst="rect">
            <a:avLst/>
          </a:prstGeom>
          <a:ln w="12700">
            <a:solidFill>
              <a:srgbClr val="80000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7</a:t>
            </a:fld>
            <a:r>
              <a:rPr lang="pt-PT"/>
              <a:t> |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9C427A16-C6B0-4D60-8516-D45B26E2FD3F}"/>
              </a:ext>
            </a:extLst>
          </p:cNvPr>
          <p:cNvSpPr txBox="1"/>
          <p:nvPr/>
        </p:nvSpPr>
        <p:spPr>
          <a:xfrm>
            <a:off x="270245" y="2814863"/>
            <a:ext cx="2921233" cy="954107"/>
          </a:xfrm>
          <a:prstGeom prst="rect">
            <a:avLst/>
          </a:prstGeom>
          <a:solidFill>
            <a:srgbClr val="800000"/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400" dirty="0">
                <a:solidFill>
                  <a:schemeClr val="bg1"/>
                </a:solidFill>
              </a:rPr>
              <a:t>Os parafusos restantes serão utilizados como guias para alinhamento da base de assentamento.</a:t>
            </a:r>
          </a:p>
        </p:txBody>
      </p: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7B9FBE19-B2FF-46D7-8C65-D4CEAF48F742}"/>
              </a:ext>
            </a:extLst>
          </p:cNvPr>
          <p:cNvGrpSpPr/>
          <p:nvPr/>
        </p:nvGrpSpPr>
        <p:grpSpPr>
          <a:xfrm>
            <a:off x="269858" y="788212"/>
            <a:ext cx="2651761" cy="1798958"/>
            <a:chOff x="4683773" y="1687026"/>
            <a:chExt cx="4320000" cy="2930694"/>
          </a:xfrm>
        </p:grpSpPr>
        <p:pic>
          <p:nvPicPr>
            <p:cNvPr id="15" name="Imagem 14" descr="Diagrama&#10;&#10;Descrição gerada automaticamente">
              <a:extLst>
                <a:ext uri="{FF2B5EF4-FFF2-40B4-BE49-F238E27FC236}">
                  <a16:creationId xmlns:a16="http://schemas.microsoft.com/office/drawing/2014/main" id="{636AF3F4-5817-4DD6-86AC-723CFECAA23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31773" y="1985265"/>
              <a:ext cx="4224000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F9D8B18A-9845-443B-8820-E4619844FFDF}"/>
                </a:ext>
              </a:extLst>
            </p:cNvPr>
            <p:cNvSpPr/>
            <p:nvPr/>
          </p:nvSpPr>
          <p:spPr>
            <a:xfrm>
              <a:off x="4683773" y="1687026"/>
              <a:ext cx="4320000" cy="288000"/>
            </a:xfrm>
            <a:prstGeom prst="rect">
              <a:avLst/>
            </a:prstGeom>
            <a:solidFill>
              <a:srgbClr val="800000"/>
            </a:solidFill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PT" sz="1200"/>
                <a:t>CASO 2</a:t>
              </a: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57FCEF18-D421-4853-8A05-22E17FBD9F87}"/>
                </a:ext>
              </a:extLst>
            </p:cNvPr>
            <p:cNvSpPr/>
            <p:nvPr/>
          </p:nvSpPr>
          <p:spPr>
            <a:xfrm>
              <a:off x="4683773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3" name="Retângulo 22">
            <a:extLst>
              <a:ext uri="{FF2B5EF4-FFF2-40B4-BE49-F238E27FC236}">
                <a16:creationId xmlns:a16="http://schemas.microsoft.com/office/drawing/2014/main" id="{0A327F75-5B26-4E57-B076-B472CA4D56F6}"/>
              </a:ext>
            </a:extLst>
          </p:cNvPr>
          <p:cNvSpPr/>
          <p:nvPr/>
        </p:nvSpPr>
        <p:spPr>
          <a:xfrm>
            <a:off x="1436370" y="1920240"/>
            <a:ext cx="297180" cy="411480"/>
          </a:xfrm>
          <a:prstGeom prst="rect">
            <a:avLst/>
          </a:prstGeom>
          <a:noFill/>
          <a:ln w="12700">
            <a:solidFill>
              <a:srgbClr val="8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5027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Uma imagem contendo Texto&#10;&#10;Descrição gerada automaticamente">
            <a:extLst>
              <a:ext uri="{FF2B5EF4-FFF2-40B4-BE49-F238E27FC236}">
                <a16:creationId xmlns:a16="http://schemas.microsoft.com/office/drawing/2014/main" id="{7C243AA4-DF35-4550-BA88-C672F50702E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874"/>
          <a:stretch/>
        </p:blipFill>
        <p:spPr>
          <a:xfrm>
            <a:off x="-1" y="2390490"/>
            <a:ext cx="5567571" cy="266223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8</a:t>
            </a:fld>
            <a:r>
              <a:rPr lang="pt-PT"/>
              <a:t> |</a:t>
            </a:r>
          </a:p>
        </p:txBody>
      </p:sp>
      <p:pic>
        <p:nvPicPr>
          <p:cNvPr id="5" name="Imagem 4" descr="Uma imagem contendo lego, brinquedo, cama, mesa&#10;&#10;Descrição gerada automaticamente">
            <a:extLst>
              <a:ext uri="{FF2B5EF4-FFF2-40B4-BE49-F238E27FC236}">
                <a16:creationId xmlns:a16="http://schemas.microsoft.com/office/drawing/2014/main" id="{4E69F2ED-5602-43DC-AE64-793B673587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79563" y="882395"/>
            <a:ext cx="3542420" cy="2195929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159119" y="961979"/>
            <a:ext cx="316314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Alinhe a base de assentamento na horizontal para corrigir o ângulo da cobertura.</a:t>
            </a:r>
          </a:p>
          <a:p>
            <a:pPr algn="ctr">
              <a:spcAft>
                <a:spcPts val="1200"/>
              </a:spcAft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Certifique-se de que utiliza um nível para esta operação.</a:t>
            </a:r>
          </a:p>
        </p:txBody>
      </p:sp>
      <p:pic>
        <p:nvPicPr>
          <p:cNvPr id="14" name="Imagem 13" descr="Desenho técnico&#10;&#10;Descrição gerada automaticamente com confiança baixa">
            <a:extLst>
              <a:ext uri="{FF2B5EF4-FFF2-40B4-BE49-F238E27FC236}">
                <a16:creationId xmlns:a16="http://schemas.microsoft.com/office/drawing/2014/main" id="{7038B0FD-FC84-41F9-95B7-CE1AD34343A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2878" t="13910" r="17120"/>
          <a:stretch/>
        </p:blipFill>
        <p:spPr>
          <a:xfrm>
            <a:off x="7164041" y="882396"/>
            <a:ext cx="1807265" cy="2195928"/>
          </a:xfrm>
          <a:prstGeom prst="rect">
            <a:avLst/>
          </a:prstGeom>
          <a:ln w="12700">
            <a:solidFill>
              <a:srgbClr val="800000"/>
            </a:solidFill>
          </a:ln>
        </p:spPr>
      </p:pic>
      <p:sp>
        <p:nvSpPr>
          <p:cNvPr id="15" name="Retângulo 14">
            <a:extLst>
              <a:ext uri="{FF2B5EF4-FFF2-40B4-BE49-F238E27FC236}">
                <a16:creationId xmlns:a16="http://schemas.microsoft.com/office/drawing/2014/main" id="{B9FB22B9-DFD4-4BF5-9472-6748A261A04C}"/>
              </a:ext>
            </a:extLst>
          </p:cNvPr>
          <p:cNvSpPr/>
          <p:nvPr/>
        </p:nvSpPr>
        <p:spPr>
          <a:xfrm>
            <a:off x="4381492" y="2119002"/>
            <a:ext cx="403868" cy="683418"/>
          </a:xfrm>
          <a:prstGeom prst="rect">
            <a:avLst/>
          </a:prstGeom>
          <a:noFill/>
          <a:ln w="12700">
            <a:solidFill>
              <a:srgbClr val="8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7" name="Conector: Angulado 16">
            <a:extLst>
              <a:ext uri="{FF2B5EF4-FFF2-40B4-BE49-F238E27FC236}">
                <a16:creationId xmlns:a16="http://schemas.microsoft.com/office/drawing/2014/main" id="{F97DDAE4-7386-4944-8CA8-401B92217C74}"/>
              </a:ext>
            </a:extLst>
          </p:cNvPr>
          <p:cNvCxnSpPr>
            <a:stCxn id="15" idx="2"/>
            <a:endCxn id="14" idx="2"/>
          </p:cNvCxnSpPr>
          <p:nvPr/>
        </p:nvCxnSpPr>
        <p:spPr>
          <a:xfrm rot="16200000" flipH="1">
            <a:off x="6187598" y="1198248"/>
            <a:ext cx="275904" cy="3484248"/>
          </a:xfrm>
          <a:prstGeom prst="bentConnector3">
            <a:avLst>
              <a:gd name="adj1" fmla="val 182855"/>
            </a:avLst>
          </a:prstGeom>
          <a:noFill/>
          <a:ln w="12700">
            <a:solidFill>
              <a:srgbClr val="8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20" name="Picture 2" descr="Nível Bolha em Alumínio com Base Magnética 30cm - FORTGPRO-FG157 - R$22.9 |  Loja do Mecânico">
            <a:extLst>
              <a:ext uri="{FF2B5EF4-FFF2-40B4-BE49-F238E27FC236}">
                <a16:creationId xmlns:a16="http://schemas.microsoft.com/office/drawing/2014/main" id="{D3D2A99D-5AC1-47E0-8204-537ED4E8CB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4211" y="3333228"/>
            <a:ext cx="1162229" cy="290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tângulo 17">
            <a:extLst>
              <a:ext uri="{FF2B5EF4-FFF2-40B4-BE49-F238E27FC236}">
                <a16:creationId xmlns:a16="http://schemas.microsoft.com/office/drawing/2014/main" id="{80F86A06-9486-4169-B6D0-C1906C99CC6D}"/>
              </a:ext>
            </a:extLst>
          </p:cNvPr>
          <p:cNvSpPr/>
          <p:nvPr/>
        </p:nvSpPr>
        <p:spPr>
          <a:xfrm>
            <a:off x="5623560" y="3624216"/>
            <a:ext cx="3347746" cy="978264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1400">
                <a:solidFill>
                  <a:srgbClr val="FFC000"/>
                </a:solidFill>
              </a:rPr>
              <a:t>Esta operação poderá requerer diversos ajustes, aperto e desaperto de parafusos até que seja alcançada a posição horizontal.</a:t>
            </a:r>
          </a:p>
        </p:txBody>
      </p:sp>
    </p:spTree>
    <p:extLst>
      <p:ext uri="{BB962C8B-B14F-4D97-AF65-F5344CB8AC3E}">
        <p14:creationId xmlns:p14="http://schemas.microsoft.com/office/powerpoint/2010/main" val="3564636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m 13" descr="Interface gráfica do usuário, Aplicativo, Word&#10;&#10;Descrição gerada automaticamente">
            <a:extLst>
              <a:ext uri="{FF2B5EF4-FFF2-40B4-BE49-F238E27FC236}">
                <a16:creationId xmlns:a16="http://schemas.microsoft.com/office/drawing/2014/main" id="{1FCA8E63-7E3C-44B0-A9C5-A84BF5199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87" r="-1"/>
          <a:stretch/>
        </p:blipFill>
        <p:spPr>
          <a:xfrm>
            <a:off x="2488707" y="2180981"/>
            <a:ext cx="6655293" cy="256429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19</a:t>
            </a:fld>
            <a:r>
              <a:rPr lang="pt-PT"/>
              <a:t> |</a:t>
            </a:r>
          </a:p>
        </p:txBody>
      </p:sp>
      <p:pic>
        <p:nvPicPr>
          <p:cNvPr id="11" name="Imagem 10" descr="Tela de computador com fundo azul&#10;&#10;Descrição gerada automaticamente com confiança média">
            <a:extLst>
              <a:ext uri="{FF2B5EF4-FFF2-40B4-BE49-F238E27FC236}">
                <a16:creationId xmlns:a16="http://schemas.microsoft.com/office/drawing/2014/main" id="{111B061B-0BEE-44F9-A364-E2FB3B25CE60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715447"/>
            <a:ext cx="3148314" cy="3899669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3896222" y="1280228"/>
            <a:ext cx="384026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Durante o alinhamento da base de assentamento, as abas dobram-se para se ajustarem ao ângulo da cobertura.</a:t>
            </a:r>
          </a:p>
        </p:txBody>
      </p:sp>
    </p:spTree>
    <p:extLst>
      <p:ext uri="{BB962C8B-B14F-4D97-AF65-F5344CB8AC3E}">
        <p14:creationId xmlns:p14="http://schemas.microsoft.com/office/powerpoint/2010/main" val="387557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334509"/>
            <a:ext cx="8636876" cy="1371600"/>
          </a:xfrm>
        </p:spPr>
        <p:txBody>
          <a:bodyPr/>
          <a:lstStyle/>
          <a:p>
            <a:pPr>
              <a:spcAft>
                <a:spcPts val="1800"/>
              </a:spcAft>
            </a:pPr>
            <a:br>
              <a:rPr lang="pt-PT" sz="1200" b="1" dirty="0"/>
            </a:br>
            <a:br>
              <a:rPr lang="pt-PT" sz="1200" b="1" dirty="0"/>
            </a:br>
            <a:br>
              <a:rPr lang="pt-PT" sz="1200" b="1" dirty="0"/>
            </a:br>
            <a:br>
              <a:rPr lang="pt-PT" sz="1200" b="1" dirty="0"/>
            </a:br>
            <a:r>
              <a:rPr lang="pt-PT" sz="4800" b="1" dirty="0"/>
              <a:t>e-Baltic</a:t>
            </a:r>
            <a:br>
              <a:rPr lang="pt-PT" sz="4000" b="1" dirty="0"/>
            </a:br>
            <a:r>
              <a:rPr lang="pt-PT" b="1" dirty="0"/>
              <a:t>Instalação da base de assentamento</a:t>
            </a:r>
          </a:p>
        </p:txBody>
      </p:sp>
    </p:spTree>
    <p:extLst>
      <p:ext uri="{BB962C8B-B14F-4D97-AF65-F5344CB8AC3E}">
        <p14:creationId xmlns:p14="http://schemas.microsoft.com/office/powerpoint/2010/main" val="1923868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m 15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A0BCF4BD-0E9A-49A2-9DC6-613515F9FC30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530869" y="586328"/>
            <a:ext cx="4013964" cy="1668888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20</a:t>
            </a:fld>
            <a:r>
              <a:rPr lang="pt-P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381000" y="1001968"/>
            <a:ext cx="384026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Assim que a base de assentamento esteja perfeitamente nivelada, fixe os ângulos de ajuste apertando todos os parafusos nas uniões e abas de proteção.</a:t>
            </a:r>
          </a:p>
        </p:txBody>
      </p:sp>
      <p:pic>
        <p:nvPicPr>
          <p:cNvPr id="7" name="Imagem 6" descr="Diagrama&#10;&#10;Descrição gerada automaticamente">
            <a:extLst>
              <a:ext uri="{FF2B5EF4-FFF2-40B4-BE49-F238E27FC236}">
                <a16:creationId xmlns:a16="http://schemas.microsoft.com/office/drawing/2014/main" id="{B9299461-1E0A-4336-ACC7-25FCF9E5654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942" r="2136"/>
          <a:stretch/>
        </p:blipFill>
        <p:spPr>
          <a:xfrm>
            <a:off x="1505310" y="2315669"/>
            <a:ext cx="2783950" cy="241567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12" name="Imagem 11" descr="Mapa de cidade&#10;&#10;Descrição gerada automaticamente com confiança média">
            <a:extLst>
              <a:ext uri="{FF2B5EF4-FFF2-40B4-BE49-F238E27FC236}">
                <a16:creationId xmlns:a16="http://schemas.microsoft.com/office/drawing/2014/main" id="{17E09986-27BD-4D60-8DA0-A424DC1F0C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54741" y="2315668"/>
            <a:ext cx="2783950" cy="241567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9" name="Retângulo 18">
            <a:extLst>
              <a:ext uri="{FF2B5EF4-FFF2-40B4-BE49-F238E27FC236}">
                <a16:creationId xmlns:a16="http://schemas.microsoft.com/office/drawing/2014/main" id="{A0A4ED64-044C-4507-B4FA-988348CA90AB}"/>
              </a:ext>
            </a:extLst>
          </p:cNvPr>
          <p:cNvSpPr/>
          <p:nvPr/>
        </p:nvSpPr>
        <p:spPr>
          <a:xfrm>
            <a:off x="4907272" y="1194288"/>
            <a:ext cx="266708" cy="529590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770BD420-B1B3-41BA-8F50-2899DFA25AA3}"/>
              </a:ext>
            </a:extLst>
          </p:cNvPr>
          <p:cNvSpPr/>
          <p:nvPr/>
        </p:nvSpPr>
        <p:spPr>
          <a:xfrm>
            <a:off x="6918952" y="1293708"/>
            <a:ext cx="266708" cy="639720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443EA6DE-B624-4003-9DC2-25116C822D76}"/>
              </a:ext>
            </a:extLst>
          </p:cNvPr>
          <p:cNvSpPr/>
          <p:nvPr/>
        </p:nvSpPr>
        <p:spPr>
          <a:xfrm>
            <a:off x="7950192" y="1100912"/>
            <a:ext cx="266708" cy="639720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5" name="Conector: Angulado 24">
            <a:extLst>
              <a:ext uri="{FF2B5EF4-FFF2-40B4-BE49-F238E27FC236}">
                <a16:creationId xmlns:a16="http://schemas.microsoft.com/office/drawing/2014/main" id="{B13D9D10-F3FF-4C3D-BA6C-E85D3D3AA968}"/>
              </a:ext>
            </a:extLst>
          </p:cNvPr>
          <p:cNvCxnSpPr>
            <a:cxnSpLocks/>
            <a:stCxn id="7" idx="0"/>
            <a:endCxn id="20" idx="2"/>
          </p:cNvCxnSpPr>
          <p:nvPr/>
        </p:nvCxnSpPr>
        <p:spPr>
          <a:xfrm rot="5400000" flipH="1" flipV="1">
            <a:off x="4783675" y="47039"/>
            <a:ext cx="382241" cy="4155021"/>
          </a:xfrm>
          <a:prstGeom prst="bentConnector3">
            <a:avLst>
              <a:gd name="adj1" fmla="val 50000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: Angulado 27">
            <a:extLst>
              <a:ext uri="{FF2B5EF4-FFF2-40B4-BE49-F238E27FC236}">
                <a16:creationId xmlns:a16="http://schemas.microsoft.com/office/drawing/2014/main" id="{385A48DD-45D4-46B2-854F-99D9DD3E3977}"/>
              </a:ext>
            </a:extLst>
          </p:cNvPr>
          <p:cNvCxnSpPr>
            <a:cxnSpLocks/>
            <a:stCxn id="12" idx="0"/>
            <a:endCxn id="20" idx="2"/>
          </p:cNvCxnSpPr>
          <p:nvPr/>
        </p:nvCxnSpPr>
        <p:spPr>
          <a:xfrm rot="5400000" flipH="1" flipV="1">
            <a:off x="6458391" y="1721753"/>
            <a:ext cx="382240" cy="805590"/>
          </a:xfrm>
          <a:prstGeom prst="bentConnector3">
            <a:avLst>
              <a:gd name="adj1" fmla="val 50000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1615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293EAC80-DA4E-4F95-AD46-2E34EA7379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960" y="1608572"/>
            <a:ext cx="8260080" cy="3434298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21</a:t>
            </a:fld>
            <a:r>
              <a:rPr lang="pt-P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274320" y="716020"/>
            <a:ext cx="576072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400">
                <a:solidFill>
                  <a:schemeClr val="bg1">
                    <a:lumMod val="50000"/>
                  </a:schemeClr>
                </a:solidFill>
              </a:rPr>
              <a:t>Quando a estrutura está posicionada corretamente, fixe toda a unidade com: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t-PT" sz="1400">
                <a:solidFill>
                  <a:srgbClr val="B50130"/>
                </a:solidFill>
              </a:rPr>
              <a:t>uma costura de solda intercalada (20 a 30 mm por cada 200 mm)</a:t>
            </a:r>
          </a:p>
        </p:txBody>
      </p:sp>
      <p:grpSp>
        <p:nvGrpSpPr>
          <p:cNvPr id="123" name="Agrupar 122">
            <a:extLst>
              <a:ext uri="{FF2B5EF4-FFF2-40B4-BE49-F238E27FC236}">
                <a16:creationId xmlns:a16="http://schemas.microsoft.com/office/drawing/2014/main" id="{51830464-DB6B-4D25-BDE7-6D9F2AB39B3A}"/>
              </a:ext>
            </a:extLst>
          </p:cNvPr>
          <p:cNvGrpSpPr/>
          <p:nvPr/>
        </p:nvGrpSpPr>
        <p:grpSpPr>
          <a:xfrm>
            <a:off x="1471051" y="2801850"/>
            <a:ext cx="6289761" cy="1238445"/>
            <a:chOff x="1471051" y="2801850"/>
            <a:chExt cx="6289761" cy="1238445"/>
          </a:xfrm>
        </p:grpSpPr>
        <p:cxnSp>
          <p:nvCxnSpPr>
            <p:cNvPr id="89" name="Conector reto 88">
              <a:extLst>
                <a:ext uri="{FF2B5EF4-FFF2-40B4-BE49-F238E27FC236}">
                  <a16:creationId xmlns:a16="http://schemas.microsoft.com/office/drawing/2014/main" id="{84EC74E5-B435-48EB-B8E2-0F12A8AF355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327333" y="3181137"/>
              <a:ext cx="151448" cy="1545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Conector reto 94">
              <a:extLst>
                <a:ext uri="{FF2B5EF4-FFF2-40B4-BE49-F238E27FC236}">
                  <a16:creationId xmlns:a16="http://schemas.microsoft.com/office/drawing/2014/main" id="{91DAF982-769B-4E9A-8E6F-CF36CA9A66F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717733" y="3117921"/>
              <a:ext cx="151448" cy="1545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Conector reto 95">
              <a:extLst>
                <a:ext uri="{FF2B5EF4-FFF2-40B4-BE49-F238E27FC236}">
                  <a16:creationId xmlns:a16="http://schemas.microsoft.com/office/drawing/2014/main" id="{F3DB8080-24EE-4DF9-86DC-11CEBB8C020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108133" y="3054707"/>
              <a:ext cx="151448" cy="1545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Conector reto 96">
              <a:extLst>
                <a:ext uri="{FF2B5EF4-FFF2-40B4-BE49-F238E27FC236}">
                  <a16:creationId xmlns:a16="http://schemas.microsoft.com/office/drawing/2014/main" id="{C8E99627-3D0B-491F-B01A-1905CA797EC2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498533" y="2991493"/>
              <a:ext cx="151448" cy="1545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Conector reto 97">
              <a:extLst>
                <a:ext uri="{FF2B5EF4-FFF2-40B4-BE49-F238E27FC236}">
                  <a16:creationId xmlns:a16="http://schemas.microsoft.com/office/drawing/2014/main" id="{ECB1CF59-6064-4564-9B03-554093E8356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888933" y="2928279"/>
              <a:ext cx="151448" cy="1545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Conector reto 98">
              <a:extLst>
                <a:ext uri="{FF2B5EF4-FFF2-40B4-BE49-F238E27FC236}">
                  <a16:creationId xmlns:a16="http://schemas.microsoft.com/office/drawing/2014/main" id="{CABAFBBF-FEAD-4412-BD77-CC411D0B145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279333" y="2865065"/>
              <a:ext cx="151448" cy="1545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Conector reto 99">
              <a:extLst>
                <a:ext uri="{FF2B5EF4-FFF2-40B4-BE49-F238E27FC236}">
                  <a16:creationId xmlns:a16="http://schemas.microsoft.com/office/drawing/2014/main" id="{ECC3E97E-AD8B-42DF-BCA9-66218EC8D27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669733" y="2801850"/>
              <a:ext cx="151448" cy="1545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Conector reto 100">
              <a:extLst>
                <a:ext uri="{FF2B5EF4-FFF2-40B4-BE49-F238E27FC236}">
                  <a16:creationId xmlns:a16="http://schemas.microsoft.com/office/drawing/2014/main" id="{71BC0D98-FB2E-4E29-A683-CB85A36406A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471051" y="2991493"/>
              <a:ext cx="15847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Conector reto 104">
              <a:extLst>
                <a:ext uri="{FF2B5EF4-FFF2-40B4-BE49-F238E27FC236}">
                  <a16:creationId xmlns:a16="http://schemas.microsoft.com/office/drawing/2014/main" id="{EAD12537-588C-4E5D-A337-179A3122773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87891" y="3499161"/>
              <a:ext cx="0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Conector reto 106">
              <a:extLst>
                <a:ext uri="{FF2B5EF4-FFF2-40B4-BE49-F238E27FC236}">
                  <a16:creationId xmlns:a16="http://schemas.microsoft.com/office/drawing/2014/main" id="{0991DB46-64BA-4488-8F8D-A0031225DDE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420202" y="3921594"/>
              <a:ext cx="0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Conector reto 107">
              <a:extLst>
                <a:ext uri="{FF2B5EF4-FFF2-40B4-BE49-F238E27FC236}">
                  <a16:creationId xmlns:a16="http://schemas.microsoft.com/office/drawing/2014/main" id="{98469E4F-9471-4ED5-B5C7-4EEC03D2F25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76437" y="3921593"/>
              <a:ext cx="0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Conector reto 108">
              <a:extLst>
                <a:ext uri="{FF2B5EF4-FFF2-40B4-BE49-F238E27FC236}">
                  <a16:creationId xmlns:a16="http://schemas.microsoft.com/office/drawing/2014/main" id="{58A9D85C-7A42-4087-BF2F-364AE63CEC6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92232" y="3515164"/>
              <a:ext cx="0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Conector reto 109">
              <a:extLst>
                <a:ext uri="{FF2B5EF4-FFF2-40B4-BE49-F238E27FC236}">
                  <a16:creationId xmlns:a16="http://schemas.microsoft.com/office/drawing/2014/main" id="{4D0E1101-762E-490E-89E6-54AE2084796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93106" y="3170877"/>
              <a:ext cx="125729" cy="2571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Conector reto 113">
              <a:extLst>
                <a:ext uri="{FF2B5EF4-FFF2-40B4-BE49-F238E27FC236}">
                  <a16:creationId xmlns:a16="http://schemas.microsoft.com/office/drawing/2014/main" id="{53F949F7-38AA-475D-9F46-36F30FEB2D0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47785" y="3097070"/>
              <a:ext cx="125729" cy="2571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Conector reto 114">
              <a:extLst>
                <a:ext uri="{FF2B5EF4-FFF2-40B4-BE49-F238E27FC236}">
                  <a16:creationId xmlns:a16="http://schemas.microsoft.com/office/drawing/2014/main" id="{6230E3F0-D991-4F03-991F-5F48D5DD49B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502464" y="3023265"/>
              <a:ext cx="125729" cy="2571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Conector reto 115">
              <a:extLst>
                <a:ext uri="{FF2B5EF4-FFF2-40B4-BE49-F238E27FC236}">
                  <a16:creationId xmlns:a16="http://schemas.microsoft.com/office/drawing/2014/main" id="{AF78E0AB-1617-451A-B345-7B96EEDCEEA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57143" y="2949460"/>
              <a:ext cx="125729" cy="2571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Conector reto 116">
              <a:extLst>
                <a:ext uri="{FF2B5EF4-FFF2-40B4-BE49-F238E27FC236}">
                  <a16:creationId xmlns:a16="http://schemas.microsoft.com/office/drawing/2014/main" id="{05FE7C7C-80F1-4D16-BF30-D4884D2856B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566503" y="2801850"/>
              <a:ext cx="125729" cy="2571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Conector reto 117">
              <a:extLst>
                <a:ext uri="{FF2B5EF4-FFF2-40B4-BE49-F238E27FC236}">
                  <a16:creationId xmlns:a16="http://schemas.microsoft.com/office/drawing/2014/main" id="{0CE2F6E9-323D-4D99-9E3F-38D418BE0E0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211822" y="2875655"/>
              <a:ext cx="125729" cy="25714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Conector reto 118">
              <a:extLst>
                <a:ext uri="{FF2B5EF4-FFF2-40B4-BE49-F238E27FC236}">
                  <a16:creationId xmlns:a16="http://schemas.microsoft.com/office/drawing/2014/main" id="{596EDD23-B048-45CE-9980-BF613CD15D9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19287" y="3272214"/>
              <a:ext cx="0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Conector reto 119">
              <a:extLst>
                <a:ext uri="{FF2B5EF4-FFF2-40B4-BE49-F238E27FC236}">
                  <a16:creationId xmlns:a16="http://schemas.microsoft.com/office/drawing/2014/main" id="{CBA18195-BF2E-446F-BB9B-DA2E1CD2667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760812" y="2865065"/>
              <a:ext cx="0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Conector reto 120">
              <a:extLst>
                <a:ext uri="{FF2B5EF4-FFF2-40B4-BE49-F238E27FC236}">
                  <a16:creationId xmlns:a16="http://schemas.microsoft.com/office/drawing/2014/main" id="{A1B8FF95-35C6-4CD2-A65F-10543BBF117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627847" y="3272214"/>
              <a:ext cx="0" cy="118701"/>
            </a:xfrm>
            <a:prstGeom prst="line">
              <a:avLst/>
            </a:prstGeom>
            <a:ln w="69850" cap="rnd">
              <a:solidFill>
                <a:srgbClr val="B5013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Agrupar 136">
            <a:extLst>
              <a:ext uri="{FF2B5EF4-FFF2-40B4-BE49-F238E27FC236}">
                <a16:creationId xmlns:a16="http://schemas.microsoft.com/office/drawing/2014/main" id="{D8B22E61-0336-4550-95FE-B653D17A5E79}"/>
              </a:ext>
            </a:extLst>
          </p:cNvPr>
          <p:cNvGrpSpPr/>
          <p:nvPr/>
        </p:nvGrpSpPr>
        <p:grpSpPr>
          <a:xfrm>
            <a:off x="6933408" y="1499997"/>
            <a:ext cx="1326246" cy="1402642"/>
            <a:chOff x="6937218" y="1484757"/>
            <a:chExt cx="1326246" cy="1402642"/>
          </a:xfrm>
        </p:grpSpPr>
        <p:cxnSp>
          <p:nvCxnSpPr>
            <p:cNvPr id="125" name="Conector reto 124">
              <a:extLst>
                <a:ext uri="{FF2B5EF4-FFF2-40B4-BE49-F238E27FC236}">
                  <a16:creationId xmlns:a16="http://schemas.microsoft.com/office/drawing/2014/main" id="{B603CB6C-AD16-4BBC-9867-F3D52AD33E53}"/>
                </a:ext>
              </a:extLst>
            </p:cNvPr>
            <p:cNvCxnSpPr/>
            <p:nvPr/>
          </p:nvCxnSpPr>
          <p:spPr>
            <a:xfrm flipV="1">
              <a:off x="7183120" y="1761490"/>
              <a:ext cx="0" cy="1125909"/>
            </a:xfrm>
            <a:prstGeom prst="line">
              <a:avLst/>
            </a:prstGeom>
            <a:ln>
              <a:solidFill>
                <a:srgbClr val="8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Conector reto 125">
              <a:extLst>
                <a:ext uri="{FF2B5EF4-FFF2-40B4-BE49-F238E27FC236}">
                  <a16:creationId xmlns:a16="http://schemas.microsoft.com/office/drawing/2014/main" id="{BFBD2C78-969B-4EA7-8A52-BC68061104DD}"/>
                </a:ext>
              </a:extLst>
            </p:cNvPr>
            <p:cNvCxnSpPr/>
            <p:nvPr/>
          </p:nvCxnSpPr>
          <p:spPr>
            <a:xfrm flipV="1">
              <a:off x="7373620" y="1720106"/>
              <a:ext cx="0" cy="1125909"/>
            </a:xfrm>
            <a:prstGeom prst="line">
              <a:avLst/>
            </a:prstGeom>
            <a:ln>
              <a:solidFill>
                <a:srgbClr val="8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Conector reto 127">
              <a:extLst>
                <a:ext uri="{FF2B5EF4-FFF2-40B4-BE49-F238E27FC236}">
                  <a16:creationId xmlns:a16="http://schemas.microsoft.com/office/drawing/2014/main" id="{B48928FB-8224-44B3-A2B4-31E6502648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80594" y="1608572"/>
              <a:ext cx="664287" cy="144309"/>
            </a:xfrm>
            <a:prstGeom prst="line">
              <a:avLst/>
            </a:prstGeom>
            <a:ln>
              <a:headEnd type="triangl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CaixaDeTexto 128">
              <a:extLst>
                <a:ext uri="{FF2B5EF4-FFF2-40B4-BE49-F238E27FC236}">
                  <a16:creationId xmlns:a16="http://schemas.microsoft.com/office/drawing/2014/main" id="{27FB1CD5-9E2F-42DE-A4D7-0AE1826146C1}"/>
                </a:ext>
              </a:extLst>
            </p:cNvPr>
            <p:cNvSpPr txBox="1"/>
            <p:nvPr/>
          </p:nvSpPr>
          <p:spPr>
            <a:xfrm rot="20838778">
              <a:off x="7249639" y="1484757"/>
              <a:ext cx="101382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PT" sz="800">
                  <a:solidFill>
                    <a:srgbClr val="800000"/>
                  </a:solidFill>
                </a:rPr>
                <a:t>20 to 30mm</a:t>
              </a:r>
            </a:p>
          </p:txBody>
        </p:sp>
        <p:cxnSp>
          <p:nvCxnSpPr>
            <p:cNvPr id="132" name="Conector reto 131">
              <a:extLst>
                <a:ext uri="{FF2B5EF4-FFF2-40B4-BE49-F238E27FC236}">
                  <a16:creationId xmlns:a16="http://schemas.microsoft.com/office/drawing/2014/main" id="{3D51518C-1BCA-40AA-BCDA-C61416152F8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37218" y="1795780"/>
              <a:ext cx="245902" cy="53420"/>
            </a:xfrm>
            <a:prstGeom prst="line">
              <a:avLst/>
            </a:prstGeom>
            <a:ln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Conector reto 134">
              <a:extLst>
                <a:ext uri="{FF2B5EF4-FFF2-40B4-BE49-F238E27FC236}">
                  <a16:creationId xmlns:a16="http://schemas.microsoft.com/office/drawing/2014/main" id="{2E7D3698-E712-4602-AAB5-57CBE256B2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37218" y="1704975"/>
              <a:ext cx="663894" cy="144225"/>
            </a:xfrm>
            <a:prstGeom prst="line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8" name="Agrupar 137">
            <a:extLst>
              <a:ext uri="{FF2B5EF4-FFF2-40B4-BE49-F238E27FC236}">
                <a16:creationId xmlns:a16="http://schemas.microsoft.com/office/drawing/2014/main" id="{8EC3014D-13A7-4427-9F76-71CE9BA73FD3}"/>
              </a:ext>
            </a:extLst>
          </p:cNvPr>
          <p:cNvGrpSpPr/>
          <p:nvPr/>
        </p:nvGrpSpPr>
        <p:grpSpPr>
          <a:xfrm>
            <a:off x="6392037" y="1264153"/>
            <a:ext cx="1326246" cy="1748922"/>
            <a:chOff x="6937218" y="1484757"/>
            <a:chExt cx="1326246" cy="1748922"/>
          </a:xfrm>
        </p:grpSpPr>
        <p:cxnSp>
          <p:nvCxnSpPr>
            <p:cNvPr id="144" name="Conector reto 143">
              <a:extLst>
                <a:ext uri="{FF2B5EF4-FFF2-40B4-BE49-F238E27FC236}">
                  <a16:creationId xmlns:a16="http://schemas.microsoft.com/office/drawing/2014/main" id="{1E7523AC-5FB2-47AE-B960-25AEF387EC0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37218" y="1704975"/>
              <a:ext cx="663894" cy="144225"/>
            </a:xfrm>
            <a:prstGeom prst="line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Conector reto 138">
              <a:extLst>
                <a:ext uri="{FF2B5EF4-FFF2-40B4-BE49-F238E27FC236}">
                  <a16:creationId xmlns:a16="http://schemas.microsoft.com/office/drawing/2014/main" id="{1A36B999-E574-4713-BE0A-14E88F0FF6E4}"/>
                </a:ext>
              </a:extLst>
            </p:cNvPr>
            <p:cNvCxnSpPr/>
            <p:nvPr/>
          </p:nvCxnSpPr>
          <p:spPr>
            <a:xfrm flipV="1">
              <a:off x="7204075" y="1757679"/>
              <a:ext cx="0" cy="1476000"/>
            </a:xfrm>
            <a:prstGeom prst="line">
              <a:avLst/>
            </a:prstGeom>
            <a:ln>
              <a:solidFill>
                <a:srgbClr val="8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Conector reto 139">
              <a:extLst>
                <a:ext uri="{FF2B5EF4-FFF2-40B4-BE49-F238E27FC236}">
                  <a16:creationId xmlns:a16="http://schemas.microsoft.com/office/drawing/2014/main" id="{063B1B12-B9CA-4908-87C1-63C27719475D}"/>
                </a:ext>
              </a:extLst>
            </p:cNvPr>
            <p:cNvCxnSpPr/>
            <p:nvPr/>
          </p:nvCxnSpPr>
          <p:spPr>
            <a:xfrm flipV="1">
              <a:off x="7373620" y="1720105"/>
              <a:ext cx="0" cy="1476000"/>
            </a:xfrm>
            <a:prstGeom prst="line">
              <a:avLst/>
            </a:prstGeom>
            <a:ln>
              <a:solidFill>
                <a:srgbClr val="8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Conector reto 140">
              <a:extLst>
                <a:ext uri="{FF2B5EF4-FFF2-40B4-BE49-F238E27FC236}">
                  <a16:creationId xmlns:a16="http://schemas.microsoft.com/office/drawing/2014/main" id="{B9428E33-A9BC-43B2-9D2E-F7E215F4A56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80594" y="1608572"/>
              <a:ext cx="664287" cy="144309"/>
            </a:xfrm>
            <a:prstGeom prst="line">
              <a:avLst/>
            </a:prstGeom>
            <a:ln>
              <a:headEnd type="triangl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2" name="CaixaDeTexto 141">
              <a:extLst>
                <a:ext uri="{FF2B5EF4-FFF2-40B4-BE49-F238E27FC236}">
                  <a16:creationId xmlns:a16="http://schemas.microsoft.com/office/drawing/2014/main" id="{8A733644-71FF-4131-935B-32CEF2C12D48}"/>
                </a:ext>
              </a:extLst>
            </p:cNvPr>
            <p:cNvSpPr txBox="1"/>
            <p:nvPr/>
          </p:nvSpPr>
          <p:spPr>
            <a:xfrm rot="20838778">
              <a:off x="7249639" y="1484757"/>
              <a:ext cx="101382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PT" sz="800">
                  <a:solidFill>
                    <a:srgbClr val="800000"/>
                  </a:solidFill>
                </a:rPr>
                <a:t>200 mm máx.</a:t>
              </a:r>
            </a:p>
          </p:txBody>
        </p:sp>
        <p:cxnSp>
          <p:nvCxnSpPr>
            <p:cNvPr id="143" name="Conector reto 142">
              <a:extLst>
                <a:ext uri="{FF2B5EF4-FFF2-40B4-BE49-F238E27FC236}">
                  <a16:creationId xmlns:a16="http://schemas.microsoft.com/office/drawing/2014/main" id="{4B8C8A07-FECE-499F-BD82-D614A2A550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37218" y="1795780"/>
              <a:ext cx="245902" cy="53420"/>
            </a:xfrm>
            <a:prstGeom prst="line">
              <a:avLst/>
            </a:prstGeom>
            <a:ln>
              <a:headEnd type="none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6" name="Imagem 145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7BA5F35B-7AFF-4CE1-9E1C-6300A7F733F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" r="73426" b="65253"/>
          <a:stretch/>
        </p:blipFill>
        <p:spPr>
          <a:xfrm>
            <a:off x="441960" y="1608572"/>
            <a:ext cx="2195037" cy="1193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38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75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293EAC80-DA4E-4F95-AD46-2E34EA7379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960" y="1608572"/>
            <a:ext cx="8260080" cy="3434298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22</a:t>
            </a:fld>
            <a:r>
              <a:rPr lang="pt-P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274320" y="716020"/>
            <a:ext cx="5760720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400">
                <a:solidFill>
                  <a:schemeClr val="bg1">
                    <a:lumMod val="50000"/>
                  </a:schemeClr>
                </a:solidFill>
              </a:rPr>
              <a:t>Quando a estrutura está posicionada corretamente, fixe toda a unidade com: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t-PT" sz="1400">
                <a:solidFill>
                  <a:schemeClr val="bg1">
                    <a:lumMod val="50000"/>
                  </a:schemeClr>
                </a:solidFill>
              </a:rPr>
              <a:t>uma costura de solda intercalada (20 a 30 mm por cada 200 mm)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t-PT" sz="1400">
                <a:solidFill>
                  <a:srgbClr val="B50130"/>
                </a:solidFill>
              </a:rPr>
              <a:t>Parafusos M6 autorroscantes nos orifícios exteriores pré-perfurados. </a:t>
            </a: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F4BDDE5C-78DF-4BF1-9D8B-C119CB2A7325}"/>
              </a:ext>
            </a:extLst>
          </p:cNvPr>
          <p:cNvGrpSpPr/>
          <p:nvPr/>
        </p:nvGrpSpPr>
        <p:grpSpPr>
          <a:xfrm>
            <a:off x="1475994" y="2892345"/>
            <a:ext cx="6283437" cy="1162649"/>
            <a:chOff x="1475994" y="2892345"/>
            <a:chExt cx="6283437" cy="1162649"/>
          </a:xfrm>
        </p:grpSpPr>
        <p:grpSp>
          <p:nvGrpSpPr>
            <p:cNvPr id="87" name="Agrupar 86">
              <a:extLst>
                <a:ext uri="{FF2B5EF4-FFF2-40B4-BE49-F238E27FC236}">
                  <a16:creationId xmlns:a16="http://schemas.microsoft.com/office/drawing/2014/main" id="{14C17317-35B1-4FC6-BDB3-D6B86EB6CFB8}"/>
                </a:ext>
              </a:extLst>
            </p:cNvPr>
            <p:cNvGrpSpPr/>
            <p:nvPr/>
          </p:nvGrpSpPr>
          <p:grpSpPr>
            <a:xfrm>
              <a:off x="1647444" y="2892345"/>
              <a:ext cx="6036945" cy="481183"/>
              <a:chOff x="1647444" y="2892345"/>
              <a:chExt cx="6036945" cy="481183"/>
            </a:xfrm>
          </p:grpSpPr>
          <p:grpSp>
            <p:nvGrpSpPr>
              <p:cNvPr id="14" name="Agrupar 13">
                <a:extLst>
                  <a:ext uri="{FF2B5EF4-FFF2-40B4-BE49-F238E27FC236}">
                    <a16:creationId xmlns:a16="http://schemas.microsoft.com/office/drawing/2014/main" id="{04DA6A22-262D-4AEA-AB3D-E9624F715BFB}"/>
                  </a:ext>
                </a:extLst>
              </p:cNvPr>
              <p:cNvGrpSpPr/>
              <p:nvPr/>
            </p:nvGrpSpPr>
            <p:grpSpPr>
              <a:xfrm>
                <a:off x="1647444" y="2896362"/>
                <a:ext cx="3835907" cy="440781"/>
                <a:chOff x="1647444" y="2896362"/>
                <a:chExt cx="3835907" cy="440781"/>
              </a:xfrm>
            </p:grpSpPr>
            <p:sp>
              <p:nvSpPr>
                <p:cNvPr id="22" name="Elipse 21">
                  <a:extLst>
                    <a:ext uri="{FF2B5EF4-FFF2-40B4-BE49-F238E27FC236}">
                      <a16:creationId xmlns:a16="http://schemas.microsoft.com/office/drawing/2014/main" id="{950CB94A-3A33-42BE-BB18-0D1FED457122}"/>
                    </a:ext>
                  </a:extLst>
                </p:cNvPr>
                <p:cNvSpPr/>
                <p:nvPr/>
              </p:nvSpPr>
              <p:spPr>
                <a:xfrm>
                  <a:off x="1647444" y="2896362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4" name="Elipse 23">
                  <a:extLst>
                    <a:ext uri="{FF2B5EF4-FFF2-40B4-BE49-F238E27FC236}">
                      <a16:creationId xmlns:a16="http://schemas.microsoft.com/office/drawing/2014/main" id="{80D030D2-C0CC-4284-968D-7CE0C677C76E}"/>
                    </a:ext>
                  </a:extLst>
                </p:cNvPr>
                <p:cNvSpPr/>
                <p:nvPr/>
              </p:nvSpPr>
              <p:spPr>
                <a:xfrm>
                  <a:off x="1899920" y="2922496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7" name="Elipse 26">
                  <a:extLst>
                    <a:ext uri="{FF2B5EF4-FFF2-40B4-BE49-F238E27FC236}">
                      <a16:creationId xmlns:a16="http://schemas.microsoft.com/office/drawing/2014/main" id="{7DE7DFD4-1112-40AA-B28A-C7187453AD5A}"/>
                    </a:ext>
                  </a:extLst>
                </p:cNvPr>
                <p:cNvSpPr/>
                <p:nvPr/>
              </p:nvSpPr>
              <p:spPr>
                <a:xfrm>
                  <a:off x="2152396" y="2948630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0" name="Elipse 29">
                  <a:extLst>
                    <a:ext uri="{FF2B5EF4-FFF2-40B4-BE49-F238E27FC236}">
                      <a16:creationId xmlns:a16="http://schemas.microsoft.com/office/drawing/2014/main" id="{116A56B7-F959-4B7F-8EDF-035EAFAAEB6D}"/>
                    </a:ext>
                  </a:extLst>
                </p:cNvPr>
                <p:cNvSpPr/>
                <p:nvPr/>
              </p:nvSpPr>
              <p:spPr>
                <a:xfrm>
                  <a:off x="2404872" y="2974764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2" name="Elipse 31">
                  <a:extLst>
                    <a:ext uri="{FF2B5EF4-FFF2-40B4-BE49-F238E27FC236}">
                      <a16:creationId xmlns:a16="http://schemas.microsoft.com/office/drawing/2014/main" id="{6EC310DD-6962-456A-A630-DFC6648371EB}"/>
                    </a:ext>
                  </a:extLst>
                </p:cNvPr>
                <p:cNvSpPr/>
                <p:nvPr/>
              </p:nvSpPr>
              <p:spPr>
                <a:xfrm>
                  <a:off x="2657348" y="3000898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4" name="Elipse 33">
                  <a:extLst>
                    <a:ext uri="{FF2B5EF4-FFF2-40B4-BE49-F238E27FC236}">
                      <a16:creationId xmlns:a16="http://schemas.microsoft.com/office/drawing/2014/main" id="{0402CB1B-1C8E-45B8-AF03-37B4EBBA74A8}"/>
                    </a:ext>
                  </a:extLst>
                </p:cNvPr>
                <p:cNvSpPr/>
                <p:nvPr/>
              </p:nvSpPr>
              <p:spPr>
                <a:xfrm>
                  <a:off x="2909824" y="3027032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6" name="Elipse 35">
                  <a:extLst>
                    <a:ext uri="{FF2B5EF4-FFF2-40B4-BE49-F238E27FC236}">
                      <a16:creationId xmlns:a16="http://schemas.microsoft.com/office/drawing/2014/main" id="{68F58083-AF41-4CDB-9EAB-04C54E95A24D}"/>
                    </a:ext>
                  </a:extLst>
                </p:cNvPr>
                <p:cNvSpPr/>
                <p:nvPr/>
              </p:nvSpPr>
              <p:spPr>
                <a:xfrm>
                  <a:off x="3162300" y="3053166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8" name="Elipse 37">
                  <a:extLst>
                    <a:ext uri="{FF2B5EF4-FFF2-40B4-BE49-F238E27FC236}">
                      <a16:creationId xmlns:a16="http://schemas.microsoft.com/office/drawing/2014/main" id="{7E8074FD-946F-4CFE-8F5A-4BA369CBCED6}"/>
                    </a:ext>
                  </a:extLst>
                </p:cNvPr>
                <p:cNvSpPr/>
                <p:nvPr/>
              </p:nvSpPr>
              <p:spPr>
                <a:xfrm>
                  <a:off x="3414776" y="3079300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0" name="Elipse 39">
                  <a:extLst>
                    <a:ext uri="{FF2B5EF4-FFF2-40B4-BE49-F238E27FC236}">
                      <a16:creationId xmlns:a16="http://schemas.microsoft.com/office/drawing/2014/main" id="{26425858-349C-4337-83B7-55C87D3E5792}"/>
                    </a:ext>
                  </a:extLst>
                </p:cNvPr>
                <p:cNvSpPr/>
                <p:nvPr/>
              </p:nvSpPr>
              <p:spPr>
                <a:xfrm>
                  <a:off x="3667252" y="3105434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2" name="Elipse 41">
                  <a:extLst>
                    <a:ext uri="{FF2B5EF4-FFF2-40B4-BE49-F238E27FC236}">
                      <a16:creationId xmlns:a16="http://schemas.microsoft.com/office/drawing/2014/main" id="{8C833FCF-EDDB-44F3-BE06-1FC3AA2CE0B1}"/>
                    </a:ext>
                  </a:extLst>
                </p:cNvPr>
                <p:cNvSpPr/>
                <p:nvPr/>
              </p:nvSpPr>
              <p:spPr>
                <a:xfrm>
                  <a:off x="3919728" y="3131568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4" name="Elipse 43">
                  <a:extLst>
                    <a:ext uri="{FF2B5EF4-FFF2-40B4-BE49-F238E27FC236}">
                      <a16:creationId xmlns:a16="http://schemas.microsoft.com/office/drawing/2014/main" id="{20DD235A-EF1B-41B7-ADDC-A83F6349B33B}"/>
                    </a:ext>
                  </a:extLst>
                </p:cNvPr>
                <p:cNvSpPr/>
                <p:nvPr/>
              </p:nvSpPr>
              <p:spPr>
                <a:xfrm>
                  <a:off x="4172204" y="3157702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6" name="Elipse 45">
                  <a:extLst>
                    <a:ext uri="{FF2B5EF4-FFF2-40B4-BE49-F238E27FC236}">
                      <a16:creationId xmlns:a16="http://schemas.microsoft.com/office/drawing/2014/main" id="{801E6911-9C1C-434B-8E9C-B766D2444C14}"/>
                    </a:ext>
                  </a:extLst>
                </p:cNvPr>
                <p:cNvSpPr/>
                <p:nvPr/>
              </p:nvSpPr>
              <p:spPr>
                <a:xfrm>
                  <a:off x="4424680" y="3183836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8" name="Elipse 47">
                  <a:extLst>
                    <a:ext uri="{FF2B5EF4-FFF2-40B4-BE49-F238E27FC236}">
                      <a16:creationId xmlns:a16="http://schemas.microsoft.com/office/drawing/2014/main" id="{3E015CDE-9FA5-4842-916F-9DFCB76C55C8}"/>
                    </a:ext>
                  </a:extLst>
                </p:cNvPr>
                <p:cNvSpPr/>
                <p:nvPr/>
              </p:nvSpPr>
              <p:spPr>
                <a:xfrm>
                  <a:off x="4677156" y="3209970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50" name="Elipse 49">
                  <a:extLst>
                    <a:ext uri="{FF2B5EF4-FFF2-40B4-BE49-F238E27FC236}">
                      <a16:creationId xmlns:a16="http://schemas.microsoft.com/office/drawing/2014/main" id="{D81F9E96-368F-4BC6-8126-6906F2D2ABC9}"/>
                    </a:ext>
                  </a:extLst>
                </p:cNvPr>
                <p:cNvSpPr/>
                <p:nvPr/>
              </p:nvSpPr>
              <p:spPr>
                <a:xfrm>
                  <a:off x="4929632" y="3236104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53" name="Elipse 52">
                  <a:extLst>
                    <a:ext uri="{FF2B5EF4-FFF2-40B4-BE49-F238E27FC236}">
                      <a16:creationId xmlns:a16="http://schemas.microsoft.com/office/drawing/2014/main" id="{7D7D3D7F-9777-4C99-8AFE-B0680547CEC2}"/>
                    </a:ext>
                  </a:extLst>
                </p:cNvPr>
                <p:cNvSpPr/>
                <p:nvPr/>
              </p:nvSpPr>
              <p:spPr>
                <a:xfrm>
                  <a:off x="5182108" y="3262238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56" name="Elipse 55">
                  <a:extLst>
                    <a:ext uri="{FF2B5EF4-FFF2-40B4-BE49-F238E27FC236}">
                      <a16:creationId xmlns:a16="http://schemas.microsoft.com/office/drawing/2014/main" id="{9A17A324-B875-46F1-BA69-B69990212B94}"/>
                    </a:ext>
                  </a:extLst>
                </p:cNvPr>
                <p:cNvSpPr/>
                <p:nvPr/>
              </p:nvSpPr>
              <p:spPr>
                <a:xfrm>
                  <a:off x="5434583" y="3288375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57" name="Agrupar 56">
                <a:extLst>
                  <a:ext uri="{FF2B5EF4-FFF2-40B4-BE49-F238E27FC236}">
                    <a16:creationId xmlns:a16="http://schemas.microsoft.com/office/drawing/2014/main" id="{3F94287B-5CC9-4EA9-B9B1-AB0F4EBFB627}"/>
                  </a:ext>
                </a:extLst>
              </p:cNvPr>
              <p:cNvGrpSpPr/>
              <p:nvPr/>
            </p:nvGrpSpPr>
            <p:grpSpPr>
              <a:xfrm>
                <a:off x="1647444" y="3115688"/>
                <a:ext cx="2068576" cy="257840"/>
                <a:chOff x="1647444" y="2896362"/>
                <a:chExt cx="2068576" cy="257840"/>
              </a:xfrm>
            </p:grpSpPr>
            <p:sp>
              <p:nvSpPr>
                <p:cNvPr id="58" name="Elipse 57">
                  <a:extLst>
                    <a:ext uri="{FF2B5EF4-FFF2-40B4-BE49-F238E27FC236}">
                      <a16:creationId xmlns:a16="http://schemas.microsoft.com/office/drawing/2014/main" id="{6F09EF5D-B375-42EF-BC9E-A414A263FE71}"/>
                    </a:ext>
                  </a:extLst>
                </p:cNvPr>
                <p:cNvSpPr/>
                <p:nvPr/>
              </p:nvSpPr>
              <p:spPr>
                <a:xfrm>
                  <a:off x="1647444" y="2896362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59" name="Elipse 58">
                  <a:extLst>
                    <a:ext uri="{FF2B5EF4-FFF2-40B4-BE49-F238E27FC236}">
                      <a16:creationId xmlns:a16="http://schemas.microsoft.com/office/drawing/2014/main" id="{74FA28C0-5CB2-45A2-A1AF-65C838F599C7}"/>
                    </a:ext>
                  </a:extLst>
                </p:cNvPr>
                <p:cNvSpPr/>
                <p:nvPr/>
              </p:nvSpPr>
              <p:spPr>
                <a:xfrm>
                  <a:off x="1899920" y="2922496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0" name="Elipse 59">
                  <a:extLst>
                    <a:ext uri="{FF2B5EF4-FFF2-40B4-BE49-F238E27FC236}">
                      <a16:creationId xmlns:a16="http://schemas.microsoft.com/office/drawing/2014/main" id="{1D31F2A1-8BF2-4626-8118-948455642E6C}"/>
                    </a:ext>
                  </a:extLst>
                </p:cNvPr>
                <p:cNvSpPr/>
                <p:nvPr/>
              </p:nvSpPr>
              <p:spPr>
                <a:xfrm>
                  <a:off x="2152396" y="2948630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1" name="Elipse 60">
                  <a:extLst>
                    <a:ext uri="{FF2B5EF4-FFF2-40B4-BE49-F238E27FC236}">
                      <a16:creationId xmlns:a16="http://schemas.microsoft.com/office/drawing/2014/main" id="{2A2B78F9-95A3-4CAF-82D9-33A0D5FE9170}"/>
                    </a:ext>
                  </a:extLst>
                </p:cNvPr>
                <p:cNvSpPr/>
                <p:nvPr/>
              </p:nvSpPr>
              <p:spPr>
                <a:xfrm>
                  <a:off x="2404872" y="2974764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2" name="Elipse 61">
                  <a:extLst>
                    <a:ext uri="{FF2B5EF4-FFF2-40B4-BE49-F238E27FC236}">
                      <a16:creationId xmlns:a16="http://schemas.microsoft.com/office/drawing/2014/main" id="{F52FF7DB-DA6B-4848-B6CE-97265059E824}"/>
                    </a:ext>
                  </a:extLst>
                </p:cNvPr>
                <p:cNvSpPr/>
                <p:nvPr/>
              </p:nvSpPr>
              <p:spPr>
                <a:xfrm>
                  <a:off x="2657348" y="3000898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3" name="Elipse 62">
                  <a:extLst>
                    <a:ext uri="{FF2B5EF4-FFF2-40B4-BE49-F238E27FC236}">
                      <a16:creationId xmlns:a16="http://schemas.microsoft.com/office/drawing/2014/main" id="{C944A91E-053C-4E96-A49B-1B49CD4AB7D6}"/>
                    </a:ext>
                  </a:extLst>
                </p:cNvPr>
                <p:cNvSpPr/>
                <p:nvPr/>
              </p:nvSpPr>
              <p:spPr>
                <a:xfrm>
                  <a:off x="2909824" y="3027032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4" name="Elipse 63">
                  <a:extLst>
                    <a:ext uri="{FF2B5EF4-FFF2-40B4-BE49-F238E27FC236}">
                      <a16:creationId xmlns:a16="http://schemas.microsoft.com/office/drawing/2014/main" id="{9174204C-B221-463B-9AF0-7AB454010C23}"/>
                    </a:ext>
                  </a:extLst>
                </p:cNvPr>
                <p:cNvSpPr/>
                <p:nvPr/>
              </p:nvSpPr>
              <p:spPr>
                <a:xfrm>
                  <a:off x="3162300" y="3053166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5" name="Elipse 64">
                  <a:extLst>
                    <a:ext uri="{FF2B5EF4-FFF2-40B4-BE49-F238E27FC236}">
                      <a16:creationId xmlns:a16="http://schemas.microsoft.com/office/drawing/2014/main" id="{18E675E9-9395-406F-BDE3-CCB29FEE08CC}"/>
                    </a:ext>
                  </a:extLst>
                </p:cNvPr>
                <p:cNvSpPr/>
                <p:nvPr/>
              </p:nvSpPr>
              <p:spPr>
                <a:xfrm>
                  <a:off x="3414776" y="3079300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6" name="Elipse 65">
                  <a:extLst>
                    <a:ext uri="{FF2B5EF4-FFF2-40B4-BE49-F238E27FC236}">
                      <a16:creationId xmlns:a16="http://schemas.microsoft.com/office/drawing/2014/main" id="{C3995839-29B6-4E1A-B7CE-3C5F1B0A9406}"/>
                    </a:ext>
                  </a:extLst>
                </p:cNvPr>
                <p:cNvSpPr/>
                <p:nvPr/>
              </p:nvSpPr>
              <p:spPr>
                <a:xfrm>
                  <a:off x="3667252" y="3105434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86" name="Agrupar 85">
                <a:extLst>
                  <a:ext uri="{FF2B5EF4-FFF2-40B4-BE49-F238E27FC236}">
                    <a16:creationId xmlns:a16="http://schemas.microsoft.com/office/drawing/2014/main" id="{C44F3004-0249-468F-86A3-C62AE82171AB}"/>
                  </a:ext>
                </a:extLst>
              </p:cNvPr>
              <p:cNvGrpSpPr/>
              <p:nvPr/>
            </p:nvGrpSpPr>
            <p:grpSpPr>
              <a:xfrm>
                <a:off x="5806948" y="2892345"/>
                <a:ext cx="1877441" cy="432415"/>
                <a:chOff x="5806948" y="2892345"/>
                <a:chExt cx="1877441" cy="432415"/>
              </a:xfrm>
            </p:grpSpPr>
            <p:sp>
              <p:nvSpPr>
                <p:cNvPr id="74" name="Elipse 73">
                  <a:extLst>
                    <a:ext uri="{FF2B5EF4-FFF2-40B4-BE49-F238E27FC236}">
                      <a16:creationId xmlns:a16="http://schemas.microsoft.com/office/drawing/2014/main" id="{6530D0C8-F6E2-47F5-B3EA-06E3A6EA30E2}"/>
                    </a:ext>
                  </a:extLst>
                </p:cNvPr>
                <p:cNvSpPr/>
                <p:nvPr/>
              </p:nvSpPr>
              <p:spPr>
                <a:xfrm>
                  <a:off x="5806948" y="3275992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5" name="Elipse 74">
                  <a:extLst>
                    <a:ext uri="{FF2B5EF4-FFF2-40B4-BE49-F238E27FC236}">
                      <a16:creationId xmlns:a16="http://schemas.microsoft.com/office/drawing/2014/main" id="{86DE821B-45E3-4BED-8D9D-1EE4DF6D272E}"/>
                    </a:ext>
                  </a:extLst>
                </p:cNvPr>
                <p:cNvSpPr/>
                <p:nvPr/>
              </p:nvSpPr>
              <p:spPr>
                <a:xfrm>
                  <a:off x="5973191" y="3241115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6" name="Elipse 75">
                  <a:extLst>
                    <a:ext uri="{FF2B5EF4-FFF2-40B4-BE49-F238E27FC236}">
                      <a16:creationId xmlns:a16="http://schemas.microsoft.com/office/drawing/2014/main" id="{79EED72D-1213-4263-A1B3-EB53831FC595}"/>
                    </a:ext>
                  </a:extLst>
                </p:cNvPr>
                <p:cNvSpPr/>
                <p:nvPr/>
              </p:nvSpPr>
              <p:spPr>
                <a:xfrm>
                  <a:off x="6139434" y="3206238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7" name="Elipse 76">
                  <a:extLst>
                    <a:ext uri="{FF2B5EF4-FFF2-40B4-BE49-F238E27FC236}">
                      <a16:creationId xmlns:a16="http://schemas.microsoft.com/office/drawing/2014/main" id="{A9396E94-A2D7-4D71-AFA7-9EFFC47C3AEC}"/>
                    </a:ext>
                  </a:extLst>
                </p:cNvPr>
                <p:cNvSpPr/>
                <p:nvPr/>
              </p:nvSpPr>
              <p:spPr>
                <a:xfrm>
                  <a:off x="6305677" y="3171361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8" name="Elipse 77">
                  <a:extLst>
                    <a:ext uri="{FF2B5EF4-FFF2-40B4-BE49-F238E27FC236}">
                      <a16:creationId xmlns:a16="http://schemas.microsoft.com/office/drawing/2014/main" id="{9C8B52B5-D7F1-44FA-8492-F5E213B13157}"/>
                    </a:ext>
                  </a:extLst>
                </p:cNvPr>
                <p:cNvSpPr/>
                <p:nvPr/>
              </p:nvSpPr>
              <p:spPr>
                <a:xfrm>
                  <a:off x="6471920" y="3136484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9" name="Elipse 78">
                  <a:extLst>
                    <a:ext uri="{FF2B5EF4-FFF2-40B4-BE49-F238E27FC236}">
                      <a16:creationId xmlns:a16="http://schemas.microsoft.com/office/drawing/2014/main" id="{8C063813-0B3B-43D5-BE87-DC6DD6722281}"/>
                    </a:ext>
                  </a:extLst>
                </p:cNvPr>
                <p:cNvSpPr/>
                <p:nvPr/>
              </p:nvSpPr>
              <p:spPr>
                <a:xfrm>
                  <a:off x="6638163" y="3101607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0" name="Elipse 79">
                  <a:extLst>
                    <a:ext uri="{FF2B5EF4-FFF2-40B4-BE49-F238E27FC236}">
                      <a16:creationId xmlns:a16="http://schemas.microsoft.com/office/drawing/2014/main" id="{C17D2C37-C50A-49EE-AEC3-54B66F8C0D0D}"/>
                    </a:ext>
                  </a:extLst>
                </p:cNvPr>
                <p:cNvSpPr/>
                <p:nvPr/>
              </p:nvSpPr>
              <p:spPr>
                <a:xfrm>
                  <a:off x="6804406" y="3066730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1" name="Elipse 80">
                  <a:extLst>
                    <a:ext uri="{FF2B5EF4-FFF2-40B4-BE49-F238E27FC236}">
                      <a16:creationId xmlns:a16="http://schemas.microsoft.com/office/drawing/2014/main" id="{06C2943A-F978-406F-A12E-59E64B299BC7}"/>
                    </a:ext>
                  </a:extLst>
                </p:cNvPr>
                <p:cNvSpPr/>
                <p:nvPr/>
              </p:nvSpPr>
              <p:spPr>
                <a:xfrm>
                  <a:off x="6970649" y="3031853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2" name="Elipse 81">
                  <a:extLst>
                    <a:ext uri="{FF2B5EF4-FFF2-40B4-BE49-F238E27FC236}">
                      <a16:creationId xmlns:a16="http://schemas.microsoft.com/office/drawing/2014/main" id="{C81EACFA-1821-4071-A840-4B12F23DA5D9}"/>
                    </a:ext>
                  </a:extLst>
                </p:cNvPr>
                <p:cNvSpPr/>
                <p:nvPr/>
              </p:nvSpPr>
              <p:spPr>
                <a:xfrm>
                  <a:off x="7136892" y="2996976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3" name="Elipse 82">
                  <a:extLst>
                    <a:ext uri="{FF2B5EF4-FFF2-40B4-BE49-F238E27FC236}">
                      <a16:creationId xmlns:a16="http://schemas.microsoft.com/office/drawing/2014/main" id="{E301E812-7A48-412F-B466-1AD2F560E4A1}"/>
                    </a:ext>
                  </a:extLst>
                </p:cNvPr>
                <p:cNvSpPr/>
                <p:nvPr/>
              </p:nvSpPr>
              <p:spPr>
                <a:xfrm>
                  <a:off x="7303135" y="2962099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4" name="Elipse 83">
                  <a:extLst>
                    <a:ext uri="{FF2B5EF4-FFF2-40B4-BE49-F238E27FC236}">
                      <a16:creationId xmlns:a16="http://schemas.microsoft.com/office/drawing/2014/main" id="{18D5951D-2F87-4A66-8950-1AB1F44C1874}"/>
                    </a:ext>
                  </a:extLst>
                </p:cNvPr>
                <p:cNvSpPr/>
                <p:nvPr/>
              </p:nvSpPr>
              <p:spPr>
                <a:xfrm>
                  <a:off x="7469378" y="2927222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5" name="Elipse 84">
                  <a:extLst>
                    <a:ext uri="{FF2B5EF4-FFF2-40B4-BE49-F238E27FC236}">
                      <a16:creationId xmlns:a16="http://schemas.microsoft.com/office/drawing/2014/main" id="{0C1E4461-8A2F-478D-AE99-4B586FE058E5}"/>
                    </a:ext>
                  </a:extLst>
                </p:cNvPr>
                <p:cNvSpPr/>
                <p:nvPr/>
              </p:nvSpPr>
              <p:spPr>
                <a:xfrm>
                  <a:off x="7635621" y="2892345"/>
                  <a:ext cx="48768" cy="48768"/>
                </a:xfrm>
                <a:prstGeom prst="ellipse">
                  <a:avLst/>
                </a:prstGeom>
                <a:solidFill>
                  <a:srgbClr val="B5013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</p:grpSp>
        <p:grpSp>
          <p:nvGrpSpPr>
            <p:cNvPr id="4" name="Agrupar 3">
              <a:extLst>
                <a:ext uri="{FF2B5EF4-FFF2-40B4-BE49-F238E27FC236}">
                  <a16:creationId xmlns:a16="http://schemas.microsoft.com/office/drawing/2014/main" id="{BA890184-C2E7-412A-A5B2-0184D8C269F3}"/>
                </a:ext>
              </a:extLst>
            </p:cNvPr>
            <p:cNvGrpSpPr/>
            <p:nvPr/>
          </p:nvGrpSpPr>
          <p:grpSpPr>
            <a:xfrm>
              <a:off x="1475994" y="3486161"/>
              <a:ext cx="48768" cy="142113"/>
              <a:chOff x="1475994" y="3486161"/>
              <a:chExt cx="48768" cy="142113"/>
            </a:xfrm>
          </p:grpSpPr>
          <p:sp>
            <p:nvSpPr>
              <p:cNvPr id="49" name="Elipse 48">
                <a:extLst>
                  <a:ext uri="{FF2B5EF4-FFF2-40B4-BE49-F238E27FC236}">
                    <a16:creationId xmlns:a16="http://schemas.microsoft.com/office/drawing/2014/main" id="{CCF32067-CF33-41A7-896B-5BB1465A1EAB}"/>
                  </a:ext>
                </a:extLst>
              </p:cNvPr>
              <p:cNvSpPr/>
              <p:nvPr/>
            </p:nvSpPr>
            <p:spPr>
              <a:xfrm>
                <a:off x="1475994" y="3486161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2" name="Elipse 51">
                <a:extLst>
                  <a:ext uri="{FF2B5EF4-FFF2-40B4-BE49-F238E27FC236}">
                    <a16:creationId xmlns:a16="http://schemas.microsoft.com/office/drawing/2014/main" id="{9D95F735-0396-4C1F-AECA-284B258883C5}"/>
                  </a:ext>
                </a:extLst>
              </p:cNvPr>
              <p:cNvSpPr/>
              <p:nvPr/>
            </p:nvSpPr>
            <p:spPr>
              <a:xfrm>
                <a:off x="1475994" y="3579506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54" name="Agrupar 53">
              <a:extLst>
                <a:ext uri="{FF2B5EF4-FFF2-40B4-BE49-F238E27FC236}">
                  <a16:creationId xmlns:a16="http://schemas.microsoft.com/office/drawing/2014/main" id="{9A92A17C-83E3-41CC-BE89-F775A9006A48}"/>
                </a:ext>
              </a:extLst>
            </p:cNvPr>
            <p:cNvGrpSpPr/>
            <p:nvPr/>
          </p:nvGrpSpPr>
          <p:grpSpPr>
            <a:xfrm>
              <a:off x="5483351" y="3912881"/>
              <a:ext cx="48768" cy="142113"/>
              <a:chOff x="1475994" y="3486161"/>
              <a:chExt cx="48768" cy="142113"/>
            </a:xfrm>
          </p:grpSpPr>
          <p:sp>
            <p:nvSpPr>
              <p:cNvPr id="67" name="Elipse 66">
                <a:extLst>
                  <a:ext uri="{FF2B5EF4-FFF2-40B4-BE49-F238E27FC236}">
                    <a16:creationId xmlns:a16="http://schemas.microsoft.com/office/drawing/2014/main" id="{446B6098-4757-4C19-AD83-41785A0CAD5C}"/>
                  </a:ext>
                </a:extLst>
              </p:cNvPr>
              <p:cNvSpPr/>
              <p:nvPr/>
            </p:nvSpPr>
            <p:spPr>
              <a:xfrm>
                <a:off x="1475994" y="3486161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8" name="Elipse 67">
                <a:extLst>
                  <a:ext uri="{FF2B5EF4-FFF2-40B4-BE49-F238E27FC236}">
                    <a16:creationId xmlns:a16="http://schemas.microsoft.com/office/drawing/2014/main" id="{6C3CDAAA-26A3-4087-A28C-3BC2B3EDD4F5}"/>
                  </a:ext>
                </a:extLst>
              </p:cNvPr>
              <p:cNvSpPr/>
              <p:nvPr/>
            </p:nvSpPr>
            <p:spPr>
              <a:xfrm>
                <a:off x="1475994" y="3579506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69" name="Agrupar 68">
              <a:extLst>
                <a:ext uri="{FF2B5EF4-FFF2-40B4-BE49-F238E27FC236}">
                  <a16:creationId xmlns:a16="http://schemas.microsoft.com/office/drawing/2014/main" id="{2F3F9680-AA75-437A-8C51-29EE78C27084}"/>
                </a:ext>
              </a:extLst>
            </p:cNvPr>
            <p:cNvGrpSpPr/>
            <p:nvPr/>
          </p:nvGrpSpPr>
          <p:grpSpPr>
            <a:xfrm>
              <a:off x="5715761" y="3912881"/>
              <a:ext cx="48768" cy="142113"/>
              <a:chOff x="1475994" y="3486161"/>
              <a:chExt cx="48768" cy="142113"/>
            </a:xfrm>
          </p:grpSpPr>
          <p:sp>
            <p:nvSpPr>
              <p:cNvPr id="70" name="Elipse 69">
                <a:extLst>
                  <a:ext uri="{FF2B5EF4-FFF2-40B4-BE49-F238E27FC236}">
                    <a16:creationId xmlns:a16="http://schemas.microsoft.com/office/drawing/2014/main" id="{AC079948-27A5-4DEC-BC99-3A12333A5F32}"/>
                  </a:ext>
                </a:extLst>
              </p:cNvPr>
              <p:cNvSpPr/>
              <p:nvPr/>
            </p:nvSpPr>
            <p:spPr>
              <a:xfrm>
                <a:off x="1475994" y="3486161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71" name="Elipse 70">
                <a:extLst>
                  <a:ext uri="{FF2B5EF4-FFF2-40B4-BE49-F238E27FC236}">
                    <a16:creationId xmlns:a16="http://schemas.microsoft.com/office/drawing/2014/main" id="{5847D084-29EF-442E-BF77-CF25941A353F}"/>
                  </a:ext>
                </a:extLst>
              </p:cNvPr>
              <p:cNvSpPr/>
              <p:nvPr/>
            </p:nvSpPr>
            <p:spPr>
              <a:xfrm>
                <a:off x="1475994" y="3579506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72" name="Agrupar 71">
              <a:extLst>
                <a:ext uri="{FF2B5EF4-FFF2-40B4-BE49-F238E27FC236}">
                  <a16:creationId xmlns:a16="http://schemas.microsoft.com/office/drawing/2014/main" id="{70DC7688-6BBC-4A4D-828C-8823A6D78B27}"/>
                </a:ext>
              </a:extLst>
            </p:cNvPr>
            <p:cNvGrpSpPr/>
            <p:nvPr/>
          </p:nvGrpSpPr>
          <p:grpSpPr>
            <a:xfrm>
              <a:off x="7710663" y="3500829"/>
              <a:ext cx="48768" cy="142113"/>
              <a:chOff x="1475994" y="3486161"/>
              <a:chExt cx="48768" cy="142113"/>
            </a:xfrm>
          </p:grpSpPr>
          <p:sp>
            <p:nvSpPr>
              <p:cNvPr id="73" name="Elipse 72">
                <a:extLst>
                  <a:ext uri="{FF2B5EF4-FFF2-40B4-BE49-F238E27FC236}">
                    <a16:creationId xmlns:a16="http://schemas.microsoft.com/office/drawing/2014/main" id="{CA3888CC-F93F-4FB0-A541-071812350BB3}"/>
                  </a:ext>
                </a:extLst>
              </p:cNvPr>
              <p:cNvSpPr/>
              <p:nvPr/>
            </p:nvSpPr>
            <p:spPr>
              <a:xfrm>
                <a:off x="1475994" y="3486161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88" name="Elipse 87">
                <a:extLst>
                  <a:ext uri="{FF2B5EF4-FFF2-40B4-BE49-F238E27FC236}">
                    <a16:creationId xmlns:a16="http://schemas.microsoft.com/office/drawing/2014/main" id="{EE1244E5-91CD-4232-BAC5-A2D9BA05571C}"/>
                  </a:ext>
                </a:extLst>
              </p:cNvPr>
              <p:cNvSpPr/>
              <p:nvPr/>
            </p:nvSpPr>
            <p:spPr>
              <a:xfrm>
                <a:off x="1475994" y="3579506"/>
                <a:ext cx="48768" cy="48768"/>
              </a:xfrm>
              <a:prstGeom prst="ellipse">
                <a:avLst/>
              </a:prstGeom>
              <a:solidFill>
                <a:srgbClr val="B501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</p:grpSp>
      <p:pic>
        <p:nvPicPr>
          <p:cNvPr id="7" name="Image 5">
            <a:extLst>
              <a:ext uri="{FF2B5EF4-FFF2-40B4-BE49-F238E27FC236}">
                <a16:creationId xmlns:a16="http://schemas.microsoft.com/office/drawing/2014/main" id="{438416E3-8FDE-4E9F-B667-00C5E296C3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56" b="15658"/>
          <a:stretch/>
        </p:blipFill>
        <p:spPr bwMode="auto">
          <a:xfrm>
            <a:off x="6652826" y="763286"/>
            <a:ext cx="2333949" cy="1177937"/>
          </a:xfrm>
          <a:prstGeom prst="rect">
            <a:avLst/>
          </a:prstGeom>
          <a:ln w="12700">
            <a:solidFill>
              <a:srgbClr val="B5013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0127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3E75FA92-AF8C-4701-AADF-29B2DB9576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20443"/>
            <a:ext cx="9144000" cy="33709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23</a:t>
            </a:fld>
            <a:r>
              <a:rPr lang="pt-P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274320" y="931096"/>
            <a:ext cx="57607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Volte a montar o isolamento da cobertura.</a:t>
            </a:r>
          </a:p>
        </p:txBody>
      </p:sp>
    </p:spTree>
    <p:extLst>
      <p:ext uri="{BB962C8B-B14F-4D97-AF65-F5344CB8AC3E}">
        <p14:creationId xmlns:p14="http://schemas.microsoft.com/office/powerpoint/2010/main" val="3024226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 descr="Tela de computador com texto preto sobre fundo branco&#10;&#10;Descrição gerada automaticamente com confiança média">
            <a:extLst>
              <a:ext uri="{FF2B5EF4-FFF2-40B4-BE49-F238E27FC236}">
                <a16:creationId xmlns:a16="http://schemas.microsoft.com/office/drawing/2014/main" id="{7DE4A23F-E91C-4F0B-B46A-DFC87C0C10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53789" y="744286"/>
            <a:ext cx="3668080" cy="153431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7" name="Seta: Dobrada 16">
            <a:extLst>
              <a:ext uri="{FF2B5EF4-FFF2-40B4-BE49-F238E27FC236}">
                <a16:creationId xmlns:a16="http://schemas.microsoft.com/office/drawing/2014/main" id="{0AEF51A3-DE9E-48F8-92DF-F68BD735BA27}"/>
              </a:ext>
            </a:extLst>
          </p:cNvPr>
          <p:cNvSpPr/>
          <p:nvPr/>
        </p:nvSpPr>
        <p:spPr>
          <a:xfrm>
            <a:off x="3174833" y="1128958"/>
            <a:ext cx="2080262" cy="1718469"/>
          </a:xfrm>
          <a:prstGeom prst="bentArrow">
            <a:avLst>
              <a:gd name="adj1" fmla="val 31854"/>
              <a:gd name="adj2" fmla="val 25000"/>
              <a:gd name="adj3" fmla="val 25000"/>
              <a:gd name="adj4" fmla="val 87500"/>
            </a:avLst>
          </a:prstGeom>
          <a:gradFill>
            <a:gsLst>
              <a:gs pos="67000">
                <a:srgbClr val="B50130"/>
              </a:gs>
              <a:gs pos="90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24</a:t>
            </a:fld>
            <a:r>
              <a:rPr lang="pt-P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274320" y="931096"/>
            <a:ext cx="25499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400">
                <a:solidFill>
                  <a:schemeClr val="bg1">
                    <a:lumMod val="50000"/>
                  </a:schemeClr>
                </a:solidFill>
              </a:rPr>
              <a:t>Instale o isolamento sobre os painéis laterais da base de assentamento.</a:t>
            </a:r>
          </a:p>
        </p:txBody>
      </p:sp>
      <p:pic>
        <p:nvPicPr>
          <p:cNvPr id="7" name="Imagem 6" descr="Arma de fogo em fundo branco&#10;&#10;Descrição gerada automaticamente com confiança baixa">
            <a:extLst>
              <a:ext uri="{FF2B5EF4-FFF2-40B4-BE49-F238E27FC236}">
                <a16:creationId xmlns:a16="http://schemas.microsoft.com/office/drawing/2014/main" id="{3C42EF36-B3A3-4FDB-9382-8F61B55C50D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2290803"/>
            <a:ext cx="9144000" cy="285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809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eta: Dobrada 16">
            <a:extLst>
              <a:ext uri="{FF2B5EF4-FFF2-40B4-BE49-F238E27FC236}">
                <a16:creationId xmlns:a16="http://schemas.microsoft.com/office/drawing/2014/main" id="{C1BE3677-EFA4-43B2-AFC3-FF0D6307F992}"/>
              </a:ext>
            </a:extLst>
          </p:cNvPr>
          <p:cNvSpPr/>
          <p:nvPr/>
        </p:nvSpPr>
        <p:spPr>
          <a:xfrm>
            <a:off x="3174833" y="1128958"/>
            <a:ext cx="2080262" cy="1718469"/>
          </a:xfrm>
          <a:prstGeom prst="bentArrow">
            <a:avLst>
              <a:gd name="adj1" fmla="val 31854"/>
              <a:gd name="adj2" fmla="val 25000"/>
              <a:gd name="adj3" fmla="val 25000"/>
              <a:gd name="adj4" fmla="val 87500"/>
            </a:avLst>
          </a:prstGeom>
          <a:gradFill>
            <a:gsLst>
              <a:gs pos="67000">
                <a:srgbClr val="B50130"/>
              </a:gs>
              <a:gs pos="90000">
                <a:schemeClr val="bg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8" name="Imagem 17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EC0D998B-4D79-4ADC-956F-D538580A33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256" t="4154" r="21985" b="28549"/>
          <a:stretch/>
        </p:blipFill>
        <p:spPr>
          <a:xfrm>
            <a:off x="5353790" y="744286"/>
            <a:ext cx="3668080" cy="1534311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8" name="Imagem 7" descr="Interface gráfica do usuário, Diagrama&#10;&#10;Descrição gerada automaticamente">
            <a:extLst>
              <a:ext uri="{FF2B5EF4-FFF2-40B4-BE49-F238E27FC236}">
                <a16:creationId xmlns:a16="http://schemas.microsoft.com/office/drawing/2014/main" id="{2269C33F-872B-4468-9338-1CBB1E50DF6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2258700"/>
            <a:ext cx="9144000" cy="28848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25</a:t>
            </a:fld>
            <a:r>
              <a:rPr lang="pt-P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AD38A805-2B5A-4C8F-BE42-BD5B8D7CB864}"/>
              </a:ext>
            </a:extLst>
          </p:cNvPr>
          <p:cNvSpPr txBox="1"/>
          <p:nvPr/>
        </p:nvSpPr>
        <p:spPr>
          <a:xfrm>
            <a:off x="274320" y="931096"/>
            <a:ext cx="30988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Isole a base de assentamento tapando completamente as abas e uniões com vedante.</a:t>
            </a:r>
          </a:p>
        </p:txBody>
      </p:sp>
    </p:spTree>
    <p:extLst>
      <p:ext uri="{BB962C8B-B14F-4D97-AF65-F5344CB8AC3E}">
        <p14:creationId xmlns:p14="http://schemas.microsoft.com/office/powerpoint/2010/main" val="997550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 descr="Uma imagem contendo serra elétrica, mesa, cama&#10;&#10;Descrição gerada automaticamente">
            <a:extLst>
              <a:ext uri="{FF2B5EF4-FFF2-40B4-BE49-F238E27FC236}">
                <a16:creationId xmlns:a16="http://schemas.microsoft.com/office/drawing/2014/main" id="{86B70569-C426-4A66-9A02-103B58718AF6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315497" y="3066665"/>
            <a:ext cx="6828503" cy="2069462"/>
          </a:xfrm>
          <a:prstGeom prst="rect">
            <a:avLst/>
          </a:prstGeom>
        </p:spPr>
      </p:pic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1B8D4A6-FB15-4368-B05F-9267FA14727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A622697-9743-454D-88EE-66ED859496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6</a:t>
            </a:fld>
            <a:r>
              <a:rPr lang="pt-PT"/>
              <a:t> |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22F82E4B-1626-4FC3-B3C7-AB9991343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-11313"/>
            <a:ext cx="8526772" cy="363380"/>
          </a:xfrm>
        </p:spPr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7" name="Subtítulo 2">
            <a:extLst>
              <a:ext uri="{FF2B5EF4-FFF2-40B4-BE49-F238E27FC236}">
                <a16:creationId xmlns:a16="http://schemas.microsoft.com/office/drawing/2014/main" id="{F7D907BD-8123-42EE-A664-C16963C49F21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381000" y="352067"/>
            <a:ext cx="8526772" cy="270507"/>
          </a:xfrm>
        </p:spPr>
        <p:txBody>
          <a:bodyPr/>
          <a:lstStyle/>
          <a:p>
            <a:r>
              <a:rPr lang="pt-PT"/>
              <a:t>INSTALAÇÃO DA BASE DE ASSENTAMENTO</a:t>
            </a:r>
          </a:p>
        </p:txBody>
      </p:sp>
      <p:pic>
        <p:nvPicPr>
          <p:cNvPr id="11" name="Imagem 10" descr="Uma imagem contendo Gráfico&#10;&#10;Descrição gerada automaticamente">
            <a:extLst>
              <a:ext uri="{FF2B5EF4-FFF2-40B4-BE49-F238E27FC236}">
                <a16:creationId xmlns:a16="http://schemas.microsoft.com/office/drawing/2014/main" id="{F447CB07-29C2-4F3F-A365-A03D54CBFD72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0" y="622574"/>
            <a:ext cx="6400800" cy="3035673"/>
          </a:xfrm>
          <a:prstGeom prst="rect">
            <a:avLst/>
          </a:prstGeom>
        </p:spPr>
      </p:pic>
      <p:sp>
        <p:nvSpPr>
          <p:cNvPr id="13" name="Triângulo isósceles 12">
            <a:extLst>
              <a:ext uri="{FF2B5EF4-FFF2-40B4-BE49-F238E27FC236}">
                <a16:creationId xmlns:a16="http://schemas.microsoft.com/office/drawing/2014/main" id="{3E8364D7-A80D-4B51-87DD-A8464ABF09F5}"/>
              </a:ext>
            </a:extLst>
          </p:cNvPr>
          <p:cNvSpPr/>
          <p:nvPr/>
        </p:nvSpPr>
        <p:spPr>
          <a:xfrm rot="10193765">
            <a:off x="3327176" y="3147169"/>
            <a:ext cx="2391236" cy="366030"/>
          </a:xfrm>
          <a:prstGeom prst="triangle">
            <a:avLst>
              <a:gd name="adj" fmla="val 37021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B0B90D05-DA79-481C-959E-D55D98C3B086}"/>
              </a:ext>
            </a:extLst>
          </p:cNvPr>
          <p:cNvSpPr/>
          <p:nvPr/>
        </p:nvSpPr>
        <p:spPr>
          <a:xfrm>
            <a:off x="4644390" y="3749040"/>
            <a:ext cx="918210" cy="1333500"/>
          </a:xfrm>
          <a:custGeom>
            <a:avLst/>
            <a:gdLst>
              <a:gd name="connsiteX0" fmla="*/ 0 w 918210"/>
              <a:gd name="connsiteY0" fmla="*/ 144780 h 1333500"/>
              <a:gd name="connsiteX1" fmla="*/ 918210 w 918210"/>
              <a:gd name="connsiteY1" fmla="*/ 0 h 1333500"/>
              <a:gd name="connsiteX2" fmla="*/ 918210 w 918210"/>
              <a:gd name="connsiteY2" fmla="*/ 1188720 h 1333500"/>
              <a:gd name="connsiteX3" fmla="*/ 0 w 918210"/>
              <a:gd name="connsiteY3" fmla="*/ 1333500 h 1333500"/>
              <a:gd name="connsiteX4" fmla="*/ 0 w 918210"/>
              <a:gd name="connsiteY4" fmla="*/ 144780 h 133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8210" h="1333500">
                <a:moveTo>
                  <a:pt x="0" y="144780"/>
                </a:moveTo>
                <a:lnTo>
                  <a:pt x="918210" y="0"/>
                </a:lnTo>
                <a:lnTo>
                  <a:pt x="918210" y="1188720"/>
                </a:lnTo>
                <a:lnTo>
                  <a:pt x="0" y="1333500"/>
                </a:lnTo>
                <a:lnTo>
                  <a:pt x="0" y="144780"/>
                </a:lnTo>
                <a:close/>
              </a:path>
            </a:pathLst>
          </a:custGeom>
          <a:solidFill>
            <a:srgbClr val="FFC000">
              <a:alpha val="71000"/>
            </a:srgbClr>
          </a:solidFill>
          <a:ln w="12700">
            <a:solidFill>
              <a:schemeClr val="accent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3369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Imagem 33" descr="Imagem de vídeo game&#10;&#10;Descrição gerada automaticamente com confiança baixa">
            <a:extLst>
              <a:ext uri="{FF2B5EF4-FFF2-40B4-BE49-F238E27FC236}">
                <a16:creationId xmlns:a16="http://schemas.microsoft.com/office/drawing/2014/main" id="{D37DAC44-BE9E-49B3-9070-C0C2E4233CC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576"/>
          <a:stretch/>
        </p:blipFill>
        <p:spPr>
          <a:xfrm>
            <a:off x="0" y="654443"/>
            <a:ext cx="6840638" cy="4489057"/>
          </a:xfrm>
          <a:prstGeom prst="rect">
            <a:avLst/>
          </a:prstGeom>
        </p:spPr>
      </p:pic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1B8D4A6-FB15-4368-B05F-9267FA14727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A622697-9743-454D-88EE-66ED859496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7</a:t>
            </a:fld>
            <a:r>
              <a:rPr lang="pt-PT"/>
              <a:t> |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22F82E4B-1626-4FC3-B3C7-AB9991343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-11313"/>
            <a:ext cx="8526772" cy="363380"/>
          </a:xfrm>
        </p:spPr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7" name="Subtítulo 2">
            <a:extLst>
              <a:ext uri="{FF2B5EF4-FFF2-40B4-BE49-F238E27FC236}">
                <a16:creationId xmlns:a16="http://schemas.microsoft.com/office/drawing/2014/main" id="{F7D907BD-8123-42EE-A664-C16963C49F21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381000" y="352067"/>
            <a:ext cx="8526772" cy="270507"/>
          </a:xfrm>
        </p:spPr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AD34476D-76E2-422C-A0AC-D3629B60D2D5}"/>
              </a:ext>
            </a:extLst>
          </p:cNvPr>
          <p:cNvSpPr txBox="1"/>
          <p:nvPr/>
        </p:nvSpPr>
        <p:spPr>
          <a:xfrm>
            <a:off x="7045474" y="2781942"/>
            <a:ext cx="18821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100">
                <a:solidFill>
                  <a:schemeClr val="bg1">
                    <a:lumMod val="50000"/>
                  </a:schemeClr>
                </a:solidFill>
              </a:rPr>
              <a:t>VEDANTE / ANTEPARA DE INCÊNDIO</a:t>
            </a: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F93CF4C8-3E77-47F6-A952-CD63F50A22D8}"/>
              </a:ext>
            </a:extLst>
          </p:cNvPr>
          <p:cNvSpPr txBox="1"/>
          <p:nvPr/>
        </p:nvSpPr>
        <p:spPr>
          <a:xfrm>
            <a:off x="1610305" y="907410"/>
            <a:ext cx="121568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pt-PT" sz="1100" dirty="0">
                <a:solidFill>
                  <a:schemeClr val="bg1">
                    <a:lumMod val="50000"/>
                  </a:schemeClr>
                </a:solidFill>
              </a:rPr>
              <a:t>BASE DE ASSENTAMENTO</a:t>
            </a:r>
          </a:p>
        </p:txBody>
      </p:sp>
      <p:cxnSp>
        <p:nvCxnSpPr>
          <p:cNvPr id="43" name="Conector reto 42">
            <a:extLst>
              <a:ext uri="{FF2B5EF4-FFF2-40B4-BE49-F238E27FC236}">
                <a16:creationId xmlns:a16="http://schemas.microsoft.com/office/drawing/2014/main" id="{75609362-6A9B-4F51-9076-D0A4BFAC1D26}"/>
              </a:ext>
            </a:extLst>
          </p:cNvPr>
          <p:cNvCxnSpPr>
            <a:cxnSpLocks/>
            <a:endCxn id="42" idx="3"/>
          </p:cNvCxnSpPr>
          <p:nvPr/>
        </p:nvCxnSpPr>
        <p:spPr>
          <a:xfrm flipH="1">
            <a:off x="2825992" y="1038215"/>
            <a:ext cx="1618686" cy="84639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66C0CA93-ECBC-41C2-AAB0-A2102EC1CA3E}"/>
              </a:ext>
            </a:extLst>
          </p:cNvPr>
          <p:cNvSpPr txBox="1"/>
          <p:nvPr/>
        </p:nvSpPr>
        <p:spPr>
          <a:xfrm>
            <a:off x="7124736" y="1529288"/>
            <a:ext cx="17236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100">
                <a:solidFill>
                  <a:schemeClr val="bg1">
                    <a:lumMod val="50000"/>
                  </a:schemeClr>
                </a:solidFill>
              </a:rPr>
              <a:t>ISOLAMENTO DA BASE DE ASSENTAMENTO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35779B31-A9A5-4F69-84FD-3BF028305373}"/>
              </a:ext>
            </a:extLst>
          </p:cNvPr>
          <p:cNvSpPr txBox="1"/>
          <p:nvPr/>
        </p:nvSpPr>
        <p:spPr>
          <a:xfrm>
            <a:off x="479039" y="1787150"/>
            <a:ext cx="1215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100">
                <a:solidFill>
                  <a:schemeClr val="bg1">
                    <a:lumMod val="50000"/>
                  </a:schemeClr>
                </a:solidFill>
              </a:rPr>
              <a:t>LATERAIS</a:t>
            </a: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7D0B51C9-4499-4759-9E22-F9FE95C1A88A}"/>
              </a:ext>
            </a:extLst>
          </p:cNvPr>
          <p:cNvSpPr txBox="1"/>
          <p:nvPr/>
        </p:nvSpPr>
        <p:spPr>
          <a:xfrm>
            <a:off x="7045474" y="4358252"/>
            <a:ext cx="15550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100" dirty="0">
                <a:solidFill>
                  <a:schemeClr val="bg1">
                    <a:lumMod val="50000"/>
                  </a:schemeClr>
                </a:solidFill>
              </a:rPr>
              <a:t>ESTRUTURA DO EDIFÍCIO</a:t>
            </a:r>
          </a:p>
        </p:txBody>
      </p:sp>
      <p:cxnSp>
        <p:nvCxnSpPr>
          <p:cNvPr id="51" name="Conector: Angulado 50">
            <a:extLst>
              <a:ext uri="{FF2B5EF4-FFF2-40B4-BE49-F238E27FC236}">
                <a16:creationId xmlns:a16="http://schemas.microsoft.com/office/drawing/2014/main" id="{0A719094-F377-4021-B2E3-A5BCB572C218}"/>
              </a:ext>
            </a:extLst>
          </p:cNvPr>
          <p:cNvCxnSpPr>
            <a:cxnSpLocks/>
            <a:stCxn id="49" idx="1"/>
          </p:cNvCxnSpPr>
          <p:nvPr/>
        </p:nvCxnSpPr>
        <p:spPr>
          <a:xfrm rot="10800000" flipV="1">
            <a:off x="181659" y="1917955"/>
            <a:ext cx="297381" cy="2793438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67238A12-D9C8-4886-8CB5-2D11CB6B017D}"/>
              </a:ext>
            </a:extLst>
          </p:cNvPr>
          <p:cNvSpPr txBox="1"/>
          <p:nvPr/>
        </p:nvSpPr>
        <p:spPr>
          <a:xfrm>
            <a:off x="7045474" y="3862485"/>
            <a:ext cx="13686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100" dirty="0">
                <a:solidFill>
                  <a:schemeClr val="bg1">
                    <a:lumMod val="50000"/>
                  </a:schemeClr>
                </a:solidFill>
              </a:rPr>
              <a:t>ABAS DE PROTEÇÃO</a:t>
            </a:r>
          </a:p>
        </p:txBody>
      </p:sp>
      <p:cxnSp>
        <p:nvCxnSpPr>
          <p:cNvPr id="53" name="Conector reto 52">
            <a:extLst>
              <a:ext uri="{FF2B5EF4-FFF2-40B4-BE49-F238E27FC236}">
                <a16:creationId xmlns:a16="http://schemas.microsoft.com/office/drawing/2014/main" id="{ABFBE147-7777-49A7-ADE6-F18C32985ABD}"/>
              </a:ext>
            </a:extLst>
          </p:cNvPr>
          <p:cNvCxnSpPr>
            <a:cxnSpLocks/>
            <a:stCxn id="52" idx="1"/>
          </p:cNvCxnSpPr>
          <p:nvPr/>
        </p:nvCxnSpPr>
        <p:spPr>
          <a:xfrm flipH="1" flipV="1">
            <a:off x="4139750" y="4028257"/>
            <a:ext cx="2905724" cy="49672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ector: Angulado 55">
            <a:extLst>
              <a:ext uri="{FF2B5EF4-FFF2-40B4-BE49-F238E27FC236}">
                <a16:creationId xmlns:a16="http://schemas.microsoft.com/office/drawing/2014/main" id="{9AC42BBF-8EC4-4EB3-BE89-AA088CF4DB11}"/>
              </a:ext>
            </a:extLst>
          </p:cNvPr>
          <p:cNvCxnSpPr>
            <a:cxnSpLocks/>
            <a:stCxn id="50" idx="1"/>
          </p:cNvCxnSpPr>
          <p:nvPr/>
        </p:nvCxnSpPr>
        <p:spPr>
          <a:xfrm rot="10800000" flipV="1">
            <a:off x="3906070" y="4489056"/>
            <a:ext cx="3139405" cy="536611"/>
          </a:xfrm>
          <a:prstGeom prst="bentConnector3">
            <a:avLst>
              <a:gd name="adj1" fmla="val 3559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: Angulado 75">
            <a:extLst>
              <a:ext uri="{FF2B5EF4-FFF2-40B4-BE49-F238E27FC236}">
                <a16:creationId xmlns:a16="http://schemas.microsoft.com/office/drawing/2014/main" id="{FBCC4F63-0F37-4511-9155-64100C689DBC}"/>
              </a:ext>
            </a:extLst>
          </p:cNvPr>
          <p:cNvCxnSpPr>
            <a:cxnSpLocks/>
            <a:stCxn id="44" idx="1"/>
          </p:cNvCxnSpPr>
          <p:nvPr/>
        </p:nvCxnSpPr>
        <p:spPr>
          <a:xfrm rot="10800000" flipV="1">
            <a:off x="4050856" y="1660092"/>
            <a:ext cx="3073880" cy="742125"/>
          </a:xfrm>
          <a:prstGeom prst="bentConnector3">
            <a:avLst>
              <a:gd name="adj1" fmla="val 13311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to 86">
            <a:extLst>
              <a:ext uri="{FF2B5EF4-FFF2-40B4-BE49-F238E27FC236}">
                <a16:creationId xmlns:a16="http://schemas.microsoft.com/office/drawing/2014/main" id="{DEF7CE1E-0E6E-4F8D-8B90-09B7BF91517D}"/>
              </a:ext>
            </a:extLst>
          </p:cNvPr>
          <p:cNvCxnSpPr>
            <a:cxnSpLocks/>
            <a:stCxn id="40" idx="1"/>
          </p:cNvCxnSpPr>
          <p:nvPr/>
        </p:nvCxnSpPr>
        <p:spPr>
          <a:xfrm flipH="1" flipV="1">
            <a:off x="3535680" y="2890934"/>
            <a:ext cx="3509794" cy="21813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aixaDeTexto 103">
            <a:extLst>
              <a:ext uri="{FF2B5EF4-FFF2-40B4-BE49-F238E27FC236}">
                <a16:creationId xmlns:a16="http://schemas.microsoft.com/office/drawing/2014/main" id="{91C8DA96-6761-4180-8C2E-E203816B32C9}"/>
              </a:ext>
            </a:extLst>
          </p:cNvPr>
          <p:cNvSpPr txBox="1"/>
          <p:nvPr/>
        </p:nvSpPr>
        <p:spPr>
          <a:xfrm>
            <a:off x="890936" y="2207857"/>
            <a:ext cx="13686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100" dirty="0">
                <a:solidFill>
                  <a:schemeClr val="bg1">
                    <a:lumMod val="50000"/>
                  </a:schemeClr>
                </a:solidFill>
              </a:rPr>
              <a:t>ISOLAMENTO DO TELHADO</a:t>
            </a:r>
          </a:p>
        </p:txBody>
      </p:sp>
      <p:cxnSp>
        <p:nvCxnSpPr>
          <p:cNvPr id="105" name="Conector: Angulado 104">
            <a:extLst>
              <a:ext uri="{FF2B5EF4-FFF2-40B4-BE49-F238E27FC236}">
                <a16:creationId xmlns:a16="http://schemas.microsoft.com/office/drawing/2014/main" id="{0F80CE0B-FCC9-4025-A219-CDA3ACBFDC5C}"/>
              </a:ext>
            </a:extLst>
          </p:cNvPr>
          <p:cNvCxnSpPr>
            <a:cxnSpLocks/>
            <a:stCxn id="104" idx="1"/>
          </p:cNvCxnSpPr>
          <p:nvPr/>
        </p:nvCxnSpPr>
        <p:spPr>
          <a:xfrm rot="10800000" flipV="1">
            <a:off x="686100" y="2338661"/>
            <a:ext cx="204837" cy="1431253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877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Imagem 33" descr="Imagem de vídeo game&#10;&#10;Descrição gerada automaticamente com confiança baixa">
            <a:extLst>
              <a:ext uri="{FF2B5EF4-FFF2-40B4-BE49-F238E27FC236}">
                <a16:creationId xmlns:a16="http://schemas.microsoft.com/office/drawing/2014/main" id="{D37DAC44-BE9E-49B3-9070-C0C2E4233CC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576"/>
          <a:stretch/>
        </p:blipFill>
        <p:spPr>
          <a:xfrm>
            <a:off x="0" y="654443"/>
            <a:ext cx="6840638" cy="4489057"/>
          </a:xfrm>
          <a:prstGeom prst="rect">
            <a:avLst/>
          </a:prstGeom>
        </p:spPr>
      </p:pic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1B8D4A6-FB15-4368-B05F-9267FA14727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A622697-9743-454D-88EE-66ED859496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8</a:t>
            </a:fld>
            <a:r>
              <a:rPr lang="pt-PT"/>
              <a:t> |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22F82E4B-1626-4FC3-B3C7-AB9991343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-11313"/>
            <a:ext cx="8526772" cy="363380"/>
          </a:xfrm>
        </p:spPr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7" name="Subtítulo 2">
            <a:extLst>
              <a:ext uri="{FF2B5EF4-FFF2-40B4-BE49-F238E27FC236}">
                <a16:creationId xmlns:a16="http://schemas.microsoft.com/office/drawing/2014/main" id="{F7D907BD-8123-42EE-A664-C16963C49F21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381000" y="352067"/>
            <a:ext cx="8526772" cy="270507"/>
          </a:xfrm>
        </p:spPr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AD34476D-76E2-422C-A0AC-D3629B60D2D5}"/>
              </a:ext>
            </a:extLst>
          </p:cNvPr>
          <p:cNvSpPr txBox="1"/>
          <p:nvPr/>
        </p:nvSpPr>
        <p:spPr>
          <a:xfrm>
            <a:off x="7045474" y="2781942"/>
            <a:ext cx="18821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100" dirty="0">
                <a:solidFill>
                  <a:schemeClr val="bg1">
                    <a:lumMod val="50000"/>
                  </a:schemeClr>
                </a:solidFill>
              </a:rPr>
              <a:t>VEDANTE / ANTEPARA DE INCÊNDIO</a:t>
            </a:r>
          </a:p>
        </p:txBody>
      </p:sp>
      <p:sp>
        <p:nvSpPr>
          <p:cNvPr id="42" name="CaixaDeTexto 41">
            <a:extLst>
              <a:ext uri="{FF2B5EF4-FFF2-40B4-BE49-F238E27FC236}">
                <a16:creationId xmlns:a16="http://schemas.microsoft.com/office/drawing/2014/main" id="{F93CF4C8-3E77-47F6-A952-CD63F50A22D8}"/>
              </a:ext>
            </a:extLst>
          </p:cNvPr>
          <p:cNvSpPr txBox="1"/>
          <p:nvPr/>
        </p:nvSpPr>
        <p:spPr>
          <a:xfrm>
            <a:off x="1610305" y="907410"/>
            <a:ext cx="121568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pt-PT" sz="1100" dirty="0">
                <a:solidFill>
                  <a:schemeClr val="bg1">
                    <a:lumMod val="50000"/>
                  </a:schemeClr>
                </a:solidFill>
              </a:rPr>
              <a:t>BASE DE ASSENTAMENTO</a:t>
            </a:r>
          </a:p>
        </p:txBody>
      </p:sp>
      <p:cxnSp>
        <p:nvCxnSpPr>
          <p:cNvPr id="43" name="Conector reto 42">
            <a:extLst>
              <a:ext uri="{FF2B5EF4-FFF2-40B4-BE49-F238E27FC236}">
                <a16:creationId xmlns:a16="http://schemas.microsoft.com/office/drawing/2014/main" id="{75609362-6A9B-4F51-9076-D0A4BFAC1D26}"/>
              </a:ext>
            </a:extLst>
          </p:cNvPr>
          <p:cNvCxnSpPr>
            <a:cxnSpLocks/>
            <a:endCxn id="42" idx="3"/>
          </p:cNvCxnSpPr>
          <p:nvPr/>
        </p:nvCxnSpPr>
        <p:spPr>
          <a:xfrm flipH="1">
            <a:off x="2825992" y="1038215"/>
            <a:ext cx="1618686" cy="84639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66C0CA93-ECBC-41C2-AAB0-A2102EC1CA3E}"/>
              </a:ext>
            </a:extLst>
          </p:cNvPr>
          <p:cNvSpPr txBox="1"/>
          <p:nvPr/>
        </p:nvSpPr>
        <p:spPr>
          <a:xfrm>
            <a:off x="7124736" y="1529288"/>
            <a:ext cx="17236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100">
                <a:solidFill>
                  <a:schemeClr val="bg1">
                    <a:lumMod val="50000"/>
                  </a:schemeClr>
                </a:solidFill>
              </a:rPr>
              <a:t>ISOLAMENTO DA BASE DE ASSENTAMENTO</a:t>
            </a:r>
          </a:p>
        </p:txBody>
      </p:sp>
      <p:sp>
        <p:nvSpPr>
          <p:cNvPr id="49" name="CaixaDeTexto 48">
            <a:extLst>
              <a:ext uri="{FF2B5EF4-FFF2-40B4-BE49-F238E27FC236}">
                <a16:creationId xmlns:a16="http://schemas.microsoft.com/office/drawing/2014/main" id="{35779B31-A9A5-4F69-84FD-3BF028305373}"/>
              </a:ext>
            </a:extLst>
          </p:cNvPr>
          <p:cNvSpPr txBox="1"/>
          <p:nvPr/>
        </p:nvSpPr>
        <p:spPr>
          <a:xfrm>
            <a:off x="479039" y="1787150"/>
            <a:ext cx="1215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100">
                <a:solidFill>
                  <a:schemeClr val="bg1">
                    <a:lumMod val="50000"/>
                  </a:schemeClr>
                </a:solidFill>
              </a:rPr>
              <a:t>LATERAIS</a:t>
            </a: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7D0B51C9-4499-4759-9E22-F9FE95C1A88A}"/>
              </a:ext>
            </a:extLst>
          </p:cNvPr>
          <p:cNvSpPr txBox="1"/>
          <p:nvPr/>
        </p:nvSpPr>
        <p:spPr>
          <a:xfrm>
            <a:off x="7045474" y="4358252"/>
            <a:ext cx="15550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100">
                <a:solidFill>
                  <a:schemeClr val="bg1">
                    <a:lumMod val="50000"/>
                  </a:schemeClr>
                </a:solidFill>
              </a:rPr>
              <a:t>ESTRUTURA DO EDIFÍCIO</a:t>
            </a:r>
          </a:p>
        </p:txBody>
      </p:sp>
      <p:cxnSp>
        <p:nvCxnSpPr>
          <p:cNvPr id="51" name="Conector: Angulado 50">
            <a:extLst>
              <a:ext uri="{FF2B5EF4-FFF2-40B4-BE49-F238E27FC236}">
                <a16:creationId xmlns:a16="http://schemas.microsoft.com/office/drawing/2014/main" id="{0A719094-F377-4021-B2E3-A5BCB572C218}"/>
              </a:ext>
            </a:extLst>
          </p:cNvPr>
          <p:cNvCxnSpPr>
            <a:cxnSpLocks/>
            <a:stCxn id="49" idx="1"/>
          </p:cNvCxnSpPr>
          <p:nvPr/>
        </p:nvCxnSpPr>
        <p:spPr>
          <a:xfrm rot="10800000" flipV="1">
            <a:off x="181659" y="1917955"/>
            <a:ext cx="297381" cy="2793438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67238A12-D9C8-4886-8CB5-2D11CB6B017D}"/>
              </a:ext>
            </a:extLst>
          </p:cNvPr>
          <p:cNvSpPr txBox="1"/>
          <p:nvPr/>
        </p:nvSpPr>
        <p:spPr>
          <a:xfrm>
            <a:off x="7045474" y="3862485"/>
            <a:ext cx="13686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100" dirty="0">
                <a:solidFill>
                  <a:schemeClr val="bg1">
                    <a:lumMod val="50000"/>
                  </a:schemeClr>
                </a:solidFill>
              </a:rPr>
              <a:t>ABAS DE PROTEÇÃO</a:t>
            </a:r>
          </a:p>
        </p:txBody>
      </p:sp>
      <p:cxnSp>
        <p:nvCxnSpPr>
          <p:cNvPr id="53" name="Conector reto 52">
            <a:extLst>
              <a:ext uri="{FF2B5EF4-FFF2-40B4-BE49-F238E27FC236}">
                <a16:creationId xmlns:a16="http://schemas.microsoft.com/office/drawing/2014/main" id="{ABFBE147-7777-49A7-ADE6-F18C32985ABD}"/>
              </a:ext>
            </a:extLst>
          </p:cNvPr>
          <p:cNvCxnSpPr>
            <a:cxnSpLocks/>
            <a:stCxn id="52" idx="1"/>
          </p:cNvCxnSpPr>
          <p:nvPr/>
        </p:nvCxnSpPr>
        <p:spPr>
          <a:xfrm flipH="1" flipV="1">
            <a:off x="4139750" y="4028257"/>
            <a:ext cx="2905724" cy="49672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ector: Angulado 55">
            <a:extLst>
              <a:ext uri="{FF2B5EF4-FFF2-40B4-BE49-F238E27FC236}">
                <a16:creationId xmlns:a16="http://schemas.microsoft.com/office/drawing/2014/main" id="{9AC42BBF-8EC4-4EB3-BE89-AA088CF4DB11}"/>
              </a:ext>
            </a:extLst>
          </p:cNvPr>
          <p:cNvCxnSpPr>
            <a:cxnSpLocks/>
            <a:stCxn id="50" idx="1"/>
          </p:cNvCxnSpPr>
          <p:nvPr/>
        </p:nvCxnSpPr>
        <p:spPr>
          <a:xfrm rot="10800000" flipV="1">
            <a:off x="3906070" y="4489056"/>
            <a:ext cx="3139405" cy="536611"/>
          </a:xfrm>
          <a:prstGeom prst="bentConnector3">
            <a:avLst>
              <a:gd name="adj1" fmla="val 3559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: Angulado 75">
            <a:extLst>
              <a:ext uri="{FF2B5EF4-FFF2-40B4-BE49-F238E27FC236}">
                <a16:creationId xmlns:a16="http://schemas.microsoft.com/office/drawing/2014/main" id="{FBCC4F63-0F37-4511-9155-64100C689DBC}"/>
              </a:ext>
            </a:extLst>
          </p:cNvPr>
          <p:cNvCxnSpPr>
            <a:cxnSpLocks/>
            <a:stCxn id="44" idx="1"/>
          </p:cNvCxnSpPr>
          <p:nvPr/>
        </p:nvCxnSpPr>
        <p:spPr>
          <a:xfrm rot="10800000" flipV="1">
            <a:off x="4050856" y="1660092"/>
            <a:ext cx="3073880" cy="742125"/>
          </a:xfrm>
          <a:prstGeom prst="bentConnector3">
            <a:avLst>
              <a:gd name="adj1" fmla="val 13311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to 86">
            <a:extLst>
              <a:ext uri="{FF2B5EF4-FFF2-40B4-BE49-F238E27FC236}">
                <a16:creationId xmlns:a16="http://schemas.microsoft.com/office/drawing/2014/main" id="{DEF7CE1E-0E6E-4F8D-8B90-09B7BF91517D}"/>
              </a:ext>
            </a:extLst>
          </p:cNvPr>
          <p:cNvCxnSpPr>
            <a:cxnSpLocks/>
            <a:stCxn id="40" idx="1"/>
          </p:cNvCxnSpPr>
          <p:nvPr/>
        </p:nvCxnSpPr>
        <p:spPr>
          <a:xfrm flipH="1" flipV="1">
            <a:off x="3535680" y="2890934"/>
            <a:ext cx="3509794" cy="21813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Forma Livre: Forma 100">
            <a:extLst>
              <a:ext uri="{FF2B5EF4-FFF2-40B4-BE49-F238E27FC236}">
                <a16:creationId xmlns:a16="http://schemas.microsoft.com/office/drawing/2014/main" id="{BB1BAD90-48AF-4428-89C6-AEA6F6ED3845}"/>
              </a:ext>
            </a:extLst>
          </p:cNvPr>
          <p:cNvSpPr/>
          <p:nvPr/>
        </p:nvSpPr>
        <p:spPr>
          <a:xfrm>
            <a:off x="3863340" y="1569720"/>
            <a:ext cx="320040" cy="2030730"/>
          </a:xfrm>
          <a:custGeom>
            <a:avLst/>
            <a:gdLst>
              <a:gd name="connsiteX0" fmla="*/ 160020 w 320040"/>
              <a:gd name="connsiteY0" fmla="*/ 0 h 2030730"/>
              <a:gd name="connsiteX1" fmla="*/ 160020 w 320040"/>
              <a:gd name="connsiteY1" fmla="*/ 655320 h 2030730"/>
              <a:gd name="connsiteX2" fmla="*/ 0 w 320040"/>
              <a:gd name="connsiteY2" fmla="*/ 643890 h 2030730"/>
              <a:gd name="connsiteX3" fmla="*/ 0 w 320040"/>
              <a:gd name="connsiteY3" fmla="*/ 2007870 h 2030730"/>
              <a:gd name="connsiteX4" fmla="*/ 308610 w 320040"/>
              <a:gd name="connsiteY4" fmla="*/ 2030730 h 2030730"/>
              <a:gd name="connsiteX5" fmla="*/ 308610 w 320040"/>
              <a:gd name="connsiteY5" fmla="*/ 544830 h 2030730"/>
              <a:gd name="connsiteX6" fmla="*/ 320040 w 320040"/>
              <a:gd name="connsiteY6" fmla="*/ 544830 h 2030730"/>
              <a:gd name="connsiteX7" fmla="*/ 320040 w 320040"/>
              <a:gd name="connsiteY7" fmla="*/ 19050 h 2030730"/>
              <a:gd name="connsiteX8" fmla="*/ 160020 w 320040"/>
              <a:gd name="connsiteY8" fmla="*/ 0 h 2030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040" h="2030730">
                <a:moveTo>
                  <a:pt x="160020" y="0"/>
                </a:moveTo>
                <a:lnTo>
                  <a:pt x="160020" y="655320"/>
                </a:lnTo>
                <a:lnTo>
                  <a:pt x="0" y="643890"/>
                </a:lnTo>
                <a:lnTo>
                  <a:pt x="0" y="2007870"/>
                </a:lnTo>
                <a:lnTo>
                  <a:pt x="308610" y="2030730"/>
                </a:lnTo>
                <a:lnTo>
                  <a:pt x="308610" y="544830"/>
                </a:lnTo>
                <a:lnTo>
                  <a:pt x="320040" y="544830"/>
                </a:lnTo>
                <a:lnTo>
                  <a:pt x="320040" y="19050"/>
                </a:lnTo>
                <a:lnTo>
                  <a:pt x="160020" y="0"/>
                </a:lnTo>
                <a:close/>
              </a:path>
            </a:pathLst>
          </a:custGeom>
          <a:solidFill>
            <a:srgbClr val="B50130">
              <a:alpha val="54000"/>
            </a:srgbClr>
          </a:solidFill>
          <a:ln w="6350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CaixaDeTexto 46">
            <a:extLst>
              <a:ext uri="{FF2B5EF4-FFF2-40B4-BE49-F238E27FC236}">
                <a16:creationId xmlns:a16="http://schemas.microsoft.com/office/drawing/2014/main" id="{F13465FA-1ADD-4339-9EE8-C8C883DBE8CE}"/>
              </a:ext>
            </a:extLst>
          </p:cNvPr>
          <p:cNvSpPr txBox="1"/>
          <p:nvPr/>
        </p:nvSpPr>
        <p:spPr>
          <a:xfrm>
            <a:off x="6945144" y="979265"/>
            <a:ext cx="2082801" cy="1692771"/>
          </a:xfrm>
          <a:prstGeom prst="rect">
            <a:avLst/>
          </a:prstGeom>
          <a:solidFill>
            <a:srgbClr val="B50130"/>
          </a:solidFill>
          <a:ln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t-PT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SOLAMENTO DA BASE DE ASSENTAMENTO</a:t>
            </a:r>
          </a:p>
          <a:p>
            <a:pPr algn="ctr">
              <a:spcAft>
                <a:spcPts val="600"/>
              </a:spcAft>
            </a:pPr>
            <a:r>
              <a:rPr lang="pt-PT" sz="1100" dirty="0">
                <a:solidFill>
                  <a:schemeClr val="bg1"/>
                </a:solidFill>
              </a:rPr>
              <a:t>CERTIFIQUE-SE DE QUE O ISOLAMENTO É INSTALADO SOBRE OS PAINEIS LATERAIS DA BASE DE ASSENTAMENTO.PARA EVITAR QUE SE FORME CONDENSAÇÃO.</a:t>
            </a:r>
          </a:p>
        </p:txBody>
      </p:sp>
      <p:sp>
        <p:nvSpPr>
          <p:cNvPr id="104" name="CaixaDeTexto 103">
            <a:extLst>
              <a:ext uri="{FF2B5EF4-FFF2-40B4-BE49-F238E27FC236}">
                <a16:creationId xmlns:a16="http://schemas.microsoft.com/office/drawing/2014/main" id="{91C8DA96-6761-4180-8C2E-E203816B32C9}"/>
              </a:ext>
            </a:extLst>
          </p:cNvPr>
          <p:cNvSpPr txBox="1"/>
          <p:nvPr/>
        </p:nvSpPr>
        <p:spPr>
          <a:xfrm>
            <a:off x="890936" y="2207857"/>
            <a:ext cx="13686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100">
                <a:solidFill>
                  <a:schemeClr val="bg1">
                    <a:lumMod val="50000"/>
                  </a:schemeClr>
                </a:solidFill>
              </a:rPr>
              <a:t>ISOLAMENTO DO TELHADO</a:t>
            </a:r>
          </a:p>
        </p:txBody>
      </p:sp>
      <p:cxnSp>
        <p:nvCxnSpPr>
          <p:cNvPr id="105" name="Conector: Angulado 104">
            <a:extLst>
              <a:ext uri="{FF2B5EF4-FFF2-40B4-BE49-F238E27FC236}">
                <a16:creationId xmlns:a16="http://schemas.microsoft.com/office/drawing/2014/main" id="{0F80CE0B-FCC9-4025-A219-CDA3ACBFDC5C}"/>
              </a:ext>
            </a:extLst>
          </p:cNvPr>
          <p:cNvCxnSpPr>
            <a:cxnSpLocks/>
            <a:stCxn id="104" idx="1"/>
          </p:cNvCxnSpPr>
          <p:nvPr/>
        </p:nvCxnSpPr>
        <p:spPr>
          <a:xfrm rot="10800000" flipV="1">
            <a:off x="686100" y="2338661"/>
            <a:ext cx="204837" cy="1431253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2720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1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 animBg="1"/>
      <p:bldP spid="47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m 23" descr="Imagem de vídeo game&#10;&#10;Descrição gerada automaticamente com confiança baixa">
            <a:extLst>
              <a:ext uri="{FF2B5EF4-FFF2-40B4-BE49-F238E27FC236}">
                <a16:creationId xmlns:a16="http://schemas.microsoft.com/office/drawing/2014/main" id="{FA43A0BE-9B36-4CA4-881D-1FB6CEE01E2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576"/>
          <a:stretch/>
        </p:blipFill>
        <p:spPr>
          <a:xfrm>
            <a:off x="0" y="654443"/>
            <a:ext cx="6840638" cy="4489057"/>
          </a:xfrm>
          <a:prstGeom prst="rect">
            <a:avLst/>
          </a:prstGeom>
        </p:spPr>
      </p:pic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1B8D4A6-FB15-4368-B05F-9267FA14727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4A622697-9743-454D-88EE-66ED859496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679D5AC-1C0B-9841-873A-C169B35CF2CF}" type="slidenum">
              <a:rPr lang="fr-FR" smtClean="0"/>
              <a:pPr/>
              <a:t>29</a:t>
            </a:fld>
            <a:r>
              <a:rPr lang="pt-PT"/>
              <a:t> |</a:t>
            </a:r>
          </a:p>
        </p:txBody>
      </p:sp>
      <p:sp>
        <p:nvSpPr>
          <p:cNvPr id="6" name="Título 1">
            <a:extLst>
              <a:ext uri="{FF2B5EF4-FFF2-40B4-BE49-F238E27FC236}">
                <a16:creationId xmlns:a16="http://schemas.microsoft.com/office/drawing/2014/main" id="{22F82E4B-1626-4FC3-B3C7-AB99913433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-11313"/>
            <a:ext cx="8526772" cy="363380"/>
          </a:xfrm>
        </p:spPr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7" name="Subtítulo 2">
            <a:extLst>
              <a:ext uri="{FF2B5EF4-FFF2-40B4-BE49-F238E27FC236}">
                <a16:creationId xmlns:a16="http://schemas.microsoft.com/office/drawing/2014/main" id="{F7D907BD-8123-42EE-A664-C16963C49F21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381000" y="352067"/>
            <a:ext cx="8526772" cy="270507"/>
          </a:xfrm>
        </p:spPr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AD34476D-76E2-422C-A0AC-D3629B60D2D5}"/>
              </a:ext>
            </a:extLst>
          </p:cNvPr>
          <p:cNvSpPr txBox="1"/>
          <p:nvPr/>
        </p:nvSpPr>
        <p:spPr>
          <a:xfrm>
            <a:off x="7045474" y="2781942"/>
            <a:ext cx="18821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100">
                <a:solidFill>
                  <a:schemeClr val="bg1">
                    <a:lumMod val="50000"/>
                  </a:schemeClr>
                </a:solidFill>
              </a:rPr>
              <a:t>VEDANTE / ANTEPARA DE INCÊNDIO</a:t>
            </a:r>
          </a:p>
        </p:txBody>
      </p: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66C0CA93-ECBC-41C2-AAB0-A2102EC1CA3E}"/>
              </a:ext>
            </a:extLst>
          </p:cNvPr>
          <p:cNvSpPr txBox="1"/>
          <p:nvPr/>
        </p:nvSpPr>
        <p:spPr>
          <a:xfrm>
            <a:off x="7124736" y="1529288"/>
            <a:ext cx="172361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100">
                <a:solidFill>
                  <a:schemeClr val="bg1">
                    <a:lumMod val="50000"/>
                  </a:schemeClr>
                </a:solidFill>
              </a:rPr>
              <a:t>ISOLAMENTO DA BASE DE ASSENTAMENTO</a:t>
            </a: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7D0B51C9-4499-4759-9E22-F9FE95C1A88A}"/>
              </a:ext>
            </a:extLst>
          </p:cNvPr>
          <p:cNvSpPr txBox="1"/>
          <p:nvPr/>
        </p:nvSpPr>
        <p:spPr>
          <a:xfrm>
            <a:off x="7045474" y="4358252"/>
            <a:ext cx="15550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100">
                <a:solidFill>
                  <a:schemeClr val="bg1">
                    <a:lumMod val="50000"/>
                  </a:schemeClr>
                </a:solidFill>
              </a:rPr>
              <a:t>ESTRUTURA DO EDIFÍCIO</a:t>
            </a:r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67238A12-D9C8-4886-8CB5-2D11CB6B017D}"/>
              </a:ext>
            </a:extLst>
          </p:cNvPr>
          <p:cNvSpPr txBox="1"/>
          <p:nvPr/>
        </p:nvSpPr>
        <p:spPr>
          <a:xfrm>
            <a:off x="7045474" y="3862485"/>
            <a:ext cx="13686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100" dirty="0">
                <a:solidFill>
                  <a:schemeClr val="bg1">
                    <a:lumMod val="50000"/>
                  </a:schemeClr>
                </a:solidFill>
              </a:rPr>
              <a:t>ABAS DE PROTEÇÃO</a:t>
            </a:r>
          </a:p>
        </p:txBody>
      </p:sp>
      <p:cxnSp>
        <p:nvCxnSpPr>
          <p:cNvPr id="53" name="Conector reto 52">
            <a:extLst>
              <a:ext uri="{FF2B5EF4-FFF2-40B4-BE49-F238E27FC236}">
                <a16:creationId xmlns:a16="http://schemas.microsoft.com/office/drawing/2014/main" id="{ABFBE147-7777-49A7-ADE6-F18C32985ABD}"/>
              </a:ext>
            </a:extLst>
          </p:cNvPr>
          <p:cNvCxnSpPr>
            <a:cxnSpLocks/>
            <a:stCxn id="52" idx="1"/>
          </p:cNvCxnSpPr>
          <p:nvPr/>
        </p:nvCxnSpPr>
        <p:spPr>
          <a:xfrm flipH="1" flipV="1">
            <a:off x="4139750" y="4028257"/>
            <a:ext cx="2905724" cy="49672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ector: Angulado 55">
            <a:extLst>
              <a:ext uri="{FF2B5EF4-FFF2-40B4-BE49-F238E27FC236}">
                <a16:creationId xmlns:a16="http://schemas.microsoft.com/office/drawing/2014/main" id="{9AC42BBF-8EC4-4EB3-BE89-AA088CF4DB11}"/>
              </a:ext>
            </a:extLst>
          </p:cNvPr>
          <p:cNvCxnSpPr>
            <a:cxnSpLocks/>
            <a:stCxn id="50" idx="1"/>
          </p:cNvCxnSpPr>
          <p:nvPr/>
        </p:nvCxnSpPr>
        <p:spPr>
          <a:xfrm rot="10800000" flipV="1">
            <a:off x="3906070" y="4489056"/>
            <a:ext cx="3139405" cy="536611"/>
          </a:xfrm>
          <a:prstGeom prst="bentConnector3">
            <a:avLst>
              <a:gd name="adj1" fmla="val 3559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: Angulado 75">
            <a:extLst>
              <a:ext uri="{FF2B5EF4-FFF2-40B4-BE49-F238E27FC236}">
                <a16:creationId xmlns:a16="http://schemas.microsoft.com/office/drawing/2014/main" id="{FBCC4F63-0F37-4511-9155-64100C689DBC}"/>
              </a:ext>
            </a:extLst>
          </p:cNvPr>
          <p:cNvCxnSpPr>
            <a:cxnSpLocks/>
            <a:stCxn id="44" idx="1"/>
          </p:cNvCxnSpPr>
          <p:nvPr/>
        </p:nvCxnSpPr>
        <p:spPr>
          <a:xfrm rot="10800000" flipV="1">
            <a:off x="4050856" y="1660092"/>
            <a:ext cx="3073880" cy="742125"/>
          </a:xfrm>
          <a:prstGeom prst="bentConnector3">
            <a:avLst>
              <a:gd name="adj1" fmla="val 13311"/>
            </a:avLst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ector reto 86">
            <a:extLst>
              <a:ext uri="{FF2B5EF4-FFF2-40B4-BE49-F238E27FC236}">
                <a16:creationId xmlns:a16="http://schemas.microsoft.com/office/drawing/2014/main" id="{DEF7CE1E-0E6E-4F8D-8B90-09B7BF91517D}"/>
              </a:ext>
            </a:extLst>
          </p:cNvPr>
          <p:cNvCxnSpPr>
            <a:cxnSpLocks/>
            <a:stCxn id="40" idx="1"/>
          </p:cNvCxnSpPr>
          <p:nvPr/>
        </p:nvCxnSpPr>
        <p:spPr>
          <a:xfrm flipH="1" flipV="1">
            <a:off x="3535680" y="2890934"/>
            <a:ext cx="3509794" cy="21813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CaixaDeTexto 74">
            <a:extLst>
              <a:ext uri="{FF2B5EF4-FFF2-40B4-BE49-F238E27FC236}">
                <a16:creationId xmlns:a16="http://schemas.microsoft.com/office/drawing/2014/main" id="{F19E74C9-AF3F-444D-A51C-93732652BD4A}"/>
              </a:ext>
            </a:extLst>
          </p:cNvPr>
          <p:cNvSpPr txBox="1"/>
          <p:nvPr/>
        </p:nvSpPr>
        <p:spPr>
          <a:xfrm>
            <a:off x="6921501" y="2402217"/>
            <a:ext cx="2133600" cy="1226111"/>
          </a:xfrm>
          <a:prstGeom prst="rect">
            <a:avLst/>
          </a:prstGeom>
          <a:solidFill>
            <a:srgbClr val="B50130"/>
          </a:solidFill>
          <a:ln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t-PT" sz="11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EDANTE / ANTEPARA DE INCÊNDIO</a:t>
            </a:r>
          </a:p>
          <a:p>
            <a:pPr algn="ctr">
              <a:spcAft>
                <a:spcPts val="600"/>
              </a:spcAft>
            </a:pPr>
            <a:r>
              <a:rPr lang="pt-PT" sz="1100" dirty="0">
                <a:solidFill>
                  <a:schemeClr val="bg1"/>
                </a:solidFill>
              </a:rPr>
              <a:t>CERTIFIQUE-SE DE QUE TODO O ISOLAMENTO DA BASE DE ASSENTAMENTO FICA COBERTA PELO VEDANTE.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045A3CA5-EA62-4518-BD23-6740A84008AE}"/>
              </a:ext>
            </a:extLst>
          </p:cNvPr>
          <p:cNvSpPr txBox="1"/>
          <p:nvPr/>
        </p:nvSpPr>
        <p:spPr>
          <a:xfrm>
            <a:off x="1610305" y="907410"/>
            <a:ext cx="121568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pt-PT" sz="1100" dirty="0">
                <a:solidFill>
                  <a:schemeClr val="bg1">
                    <a:lumMod val="50000"/>
                  </a:schemeClr>
                </a:solidFill>
              </a:rPr>
              <a:t>BASE DE ASSENTAMENTO</a:t>
            </a:r>
          </a:p>
        </p:txBody>
      </p:sp>
      <p:cxnSp>
        <p:nvCxnSpPr>
          <p:cNvPr id="26" name="Conector reto 25">
            <a:extLst>
              <a:ext uri="{FF2B5EF4-FFF2-40B4-BE49-F238E27FC236}">
                <a16:creationId xmlns:a16="http://schemas.microsoft.com/office/drawing/2014/main" id="{6E7E6E64-E6F8-4667-96B3-C2BC13406F82}"/>
              </a:ext>
            </a:extLst>
          </p:cNvPr>
          <p:cNvCxnSpPr>
            <a:cxnSpLocks/>
            <a:endCxn id="25" idx="3"/>
          </p:cNvCxnSpPr>
          <p:nvPr/>
        </p:nvCxnSpPr>
        <p:spPr>
          <a:xfrm flipH="1">
            <a:off x="2825992" y="1038215"/>
            <a:ext cx="1618686" cy="84639"/>
          </a:xfrm>
          <a:prstGeom prst="line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86B365A8-6454-4DB9-B4B2-D780A7B82372}"/>
              </a:ext>
            </a:extLst>
          </p:cNvPr>
          <p:cNvSpPr txBox="1"/>
          <p:nvPr/>
        </p:nvSpPr>
        <p:spPr>
          <a:xfrm>
            <a:off x="890936" y="2207857"/>
            <a:ext cx="13686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100">
                <a:solidFill>
                  <a:schemeClr val="bg1">
                    <a:lumMod val="50000"/>
                  </a:schemeClr>
                </a:solidFill>
              </a:rPr>
              <a:t>ISOLAMENTO DO TELHADO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962FC4EB-F6B5-4B7A-AD24-72F1AB74361A}"/>
              </a:ext>
            </a:extLst>
          </p:cNvPr>
          <p:cNvSpPr txBox="1"/>
          <p:nvPr/>
        </p:nvSpPr>
        <p:spPr>
          <a:xfrm>
            <a:off x="479039" y="1787150"/>
            <a:ext cx="1215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100">
                <a:solidFill>
                  <a:schemeClr val="bg1">
                    <a:lumMod val="50000"/>
                  </a:schemeClr>
                </a:solidFill>
              </a:rPr>
              <a:t>LATERAIS</a:t>
            </a:r>
          </a:p>
        </p:txBody>
      </p:sp>
      <p:cxnSp>
        <p:nvCxnSpPr>
          <p:cNvPr id="29" name="Conector: Angulado 28">
            <a:extLst>
              <a:ext uri="{FF2B5EF4-FFF2-40B4-BE49-F238E27FC236}">
                <a16:creationId xmlns:a16="http://schemas.microsoft.com/office/drawing/2014/main" id="{6EE7BC5E-E7D5-4D1C-B981-E28E2B949A75}"/>
              </a:ext>
            </a:extLst>
          </p:cNvPr>
          <p:cNvCxnSpPr>
            <a:cxnSpLocks/>
            <a:stCxn id="28" idx="1"/>
          </p:cNvCxnSpPr>
          <p:nvPr/>
        </p:nvCxnSpPr>
        <p:spPr>
          <a:xfrm rot="10800000" flipV="1">
            <a:off x="181659" y="1917955"/>
            <a:ext cx="297381" cy="2793438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: Angulado 29">
            <a:extLst>
              <a:ext uri="{FF2B5EF4-FFF2-40B4-BE49-F238E27FC236}">
                <a16:creationId xmlns:a16="http://schemas.microsoft.com/office/drawing/2014/main" id="{8A2A4226-14E0-4636-A30F-95F142161918}"/>
              </a:ext>
            </a:extLst>
          </p:cNvPr>
          <p:cNvCxnSpPr>
            <a:cxnSpLocks/>
            <a:stCxn id="27" idx="1"/>
          </p:cNvCxnSpPr>
          <p:nvPr/>
        </p:nvCxnSpPr>
        <p:spPr>
          <a:xfrm rot="10800000" flipV="1">
            <a:off x="686100" y="2338661"/>
            <a:ext cx="204837" cy="1431253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209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>
            <a:extLst>
              <a:ext uri="{FF2B5EF4-FFF2-40B4-BE49-F238E27FC236}">
                <a16:creationId xmlns:a16="http://schemas.microsoft.com/office/drawing/2014/main" id="{C0F0A383-28F0-44AE-8950-1B4AAAD90F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85954"/>
            <a:ext cx="9144000" cy="37544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</a:t>
            </a:fld>
            <a:r>
              <a:rPr lang="pt-PT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802751" y="1377353"/>
            <a:ext cx="272784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A base de assentamento é entregue numa palete e deve ser transportada para a cobertura do edifício de instalação.</a:t>
            </a:r>
          </a:p>
        </p:txBody>
      </p:sp>
    </p:spTree>
    <p:extLst>
      <p:ext uri="{BB962C8B-B14F-4D97-AF65-F5344CB8AC3E}">
        <p14:creationId xmlns:p14="http://schemas.microsoft.com/office/powerpoint/2010/main" val="2626511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4D500299-33DD-427A-9211-C9C8B0C7A1E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584"/>
          <a:stretch/>
        </p:blipFill>
        <p:spPr>
          <a:xfrm>
            <a:off x="0" y="2541127"/>
            <a:ext cx="8633460" cy="260237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0</a:t>
            </a:fld>
            <a:r>
              <a:rPr lang="pt-PT"/>
              <a:t> |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423AFCEF-08EE-42E1-A4F7-C957826F1BA0}"/>
              </a:ext>
            </a:extLst>
          </p:cNvPr>
          <p:cNvSpPr txBox="1"/>
          <p:nvPr/>
        </p:nvSpPr>
        <p:spPr>
          <a:xfrm>
            <a:off x="234259" y="973762"/>
            <a:ext cx="21170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t-PT" sz="1400">
                <a:solidFill>
                  <a:schemeClr val="bg1">
                    <a:lumMod val="50000"/>
                  </a:schemeClr>
                </a:solidFill>
              </a:rPr>
              <a:t>Preparação das ligações elétricas da unidade</a:t>
            </a:r>
          </a:p>
        </p:txBody>
      </p: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42F854F7-6659-4074-857F-A3D7DBE44D09}"/>
              </a:ext>
            </a:extLst>
          </p:cNvPr>
          <p:cNvSpPr/>
          <p:nvPr/>
        </p:nvSpPr>
        <p:spPr>
          <a:xfrm>
            <a:off x="1659256" y="3689571"/>
            <a:ext cx="563880" cy="169947"/>
          </a:xfrm>
          <a:custGeom>
            <a:avLst/>
            <a:gdLst>
              <a:gd name="connsiteX0" fmla="*/ 0 w 916305"/>
              <a:gd name="connsiteY0" fmla="*/ 331470 h 400050"/>
              <a:gd name="connsiteX1" fmla="*/ 394335 w 916305"/>
              <a:gd name="connsiteY1" fmla="*/ 0 h 400050"/>
              <a:gd name="connsiteX2" fmla="*/ 916305 w 916305"/>
              <a:gd name="connsiteY2" fmla="*/ 66675 h 400050"/>
              <a:gd name="connsiteX3" fmla="*/ 544830 w 916305"/>
              <a:gd name="connsiteY3" fmla="*/ 400050 h 400050"/>
              <a:gd name="connsiteX4" fmla="*/ 0 w 916305"/>
              <a:gd name="connsiteY4" fmla="*/ 331470 h 400050"/>
              <a:gd name="connsiteX0" fmla="*/ 0 w 916305"/>
              <a:gd name="connsiteY0" fmla="*/ 331470 h 403647"/>
              <a:gd name="connsiteX1" fmla="*/ 394335 w 916305"/>
              <a:gd name="connsiteY1" fmla="*/ 0 h 403647"/>
              <a:gd name="connsiteX2" fmla="*/ 916305 w 916305"/>
              <a:gd name="connsiteY2" fmla="*/ 66675 h 403647"/>
              <a:gd name="connsiteX3" fmla="*/ 290194 w 916305"/>
              <a:gd name="connsiteY3" fmla="*/ 403647 h 403647"/>
              <a:gd name="connsiteX4" fmla="*/ 0 w 916305"/>
              <a:gd name="connsiteY4" fmla="*/ 331470 h 403647"/>
              <a:gd name="connsiteX0" fmla="*/ 0 w 518918"/>
              <a:gd name="connsiteY0" fmla="*/ 331470 h 403647"/>
              <a:gd name="connsiteX1" fmla="*/ 394335 w 518918"/>
              <a:gd name="connsiteY1" fmla="*/ 0 h 403647"/>
              <a:gd name="connsiteX2" fmla="*/ 518918 w 518918"/>
              <a:gd name="connsiteY2" fmla="*/ 196176 h 403647"/>
              <a:gd name="connsiteX3" fmla="*/ 290194 w 518918"/>
              <a:gd name="connsiteY3" fmla="*/ 403647 h 403647"/>
              <a:gd name="connsiteX4" fmla="*/ 0 w 518918"/>
              <a:gd name="connsiteY4" fmla="*/ 331470 h 403647"/>
              <a:gd name="connsiteX0" fmla="*/ 0 w 518918"/>
              <a:gd name="connsiteY0" fmla="*/ 248734 h 320911"/>
              <a:gd name="connsiteX1" fmla="*/ 305598 w 518918"/>
              <a:gd name="connsiteY1" fmla="*/ 0 h 320911"/>
              <a:gd name="connsiteX2" fmla="*/ 518918 w 518918"/>
              <a:gd name="connsiteY2" fmla="*/ 113440 h 320911"/>
              <a:gd name="connsiteX3" fmla="*/ 290194 w 518918"/>
              <a:gd name="connsiteY3" fmla="*/ 320911 h 320911"/>
              <a:gd name="connsiteX4" fmla="*/ 0 w 518918"/>
              <a:gd name="connsiteY4" fmla="*/ 248734 h 320911"/>
              <a:gd name="connsiteX0" fmla="*/ 0 w 561357"/>
              <a:gd name="connsiteY0" fmla="*/ 248734 h 320911"/>
              <a:gd name="connsiteX1" fmla="*/ 305598 w 561357"/>
              <a:gd name="connsiteY1" fmla="*/ 0 h 320911"/>
              <a:gd name="connsiteX2" fmla="*/ 561357 w 561357"/>
              <a:gd name="connsiteY2" fmla="*/ 77468 h 320911"/>
              <a:gd name="connsiteX3" fmla="*/ 290194 w 561357"/>
              <a:gd name="connsiteY3" fmla="*/ 320911 h 320911"/>
              <a:gd name="connsiteX4" fmla="*/ 0 w 561357"/>
              <a:gd name="connsiteY4" fmla="*/ 248734 h 320911"/>
              <a:gd name="connsiteX0" fmla="*/ 0 w 571002"/>
              <a:gd name="connsiteY0" fmla="*/ 248734 h 320911"/>
              <a:gd name="connsiteX1" fmla="*/ 305598 w 571002"/>
              <a:gd name="connsiteY1" fmla="*/ 0 h 320911"/>
              <a:gd name="connsiteX2" fmla="*/ 571002 w 571002"/>
              <a:gd name="connsiteY2" fmla="*/ 63079 h 320911"/>
              <a:gd name="connsiteX3" fmla="*/ 290194 w 571002"/>
              <a:gd name="connsiteY3" fmla="*/ 320911 h 320911"/>
              <a:gd name="connsiteX4" fmla="*/ 0 w 571002"/>
              <a:gd name="connsiteY4" fmla="*/ 248734 h 320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1002" h="320911">
                <a:moveTo>
                  <a:pt x="0" y="248734"/>
                </a:moveTo>
                <a:lnTo>
                  <a:pt x="305598" y="0"/>
                </a:lnTo>
                <a:lnTo>
                  <a:pt x="571002" y="63079"/>
                </a:lnTo>
                <a:lnTo>
                  <a:pt x="290194" y="320911"/>
                </a:lnTo>
                <a:lnTo>
                  <a:pt x="0" y="248734"/>
                </a:lnTo>
                <a:close/>
              </a:path>
            </a:pathLst>
          </a:custGeom>
          <a:solidFill>
            <a:srgbClr val="B50130">
              <a:alpha val="38000"/>
            </a:srgbClr>
          </a:solidFill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2" name="Conector: Angulado 21">
            <a:extLst>
              <a:ext uri="{FF2B5EF4-FFF2-40B4-BE49-F238E27FC236}">
                <a16:creationId xmlns:a16="http://schemas.microsoft.com/office/drawing/2014/main" id="{65D3B19C-F660-4882-9F87-714CCB653CD6}"/>
              </a:ext>
            </a:extLst>
          </p:cNvPr>
          <p:cNvCxnSpPr>
            <a:cxnSpLocks/>
            <a:stCxn id="19" idx="1"/>
            <a:endCxn id="13" idx="1"/>
          </p:cNvCxnSpPr>
          <p:nvPr/>
        </p:nvCxnSpPr>
        <p:spPr>
          <a:xfrm flipV="1">
            <a:off x="1961042" y="1704761"/>
            <a:ext cx="1913607" cy="1984810"/>
          </a:xfrm>
          <a:prstGeom prst="bentConnector3">
            <a:avLst>
              <a:gd name="adj1" fmla="val 1021"/>
            </a:avLst>
          </a:prstGeom>
          <a:solidFill>
            <a:srgbClr val="B50130">
              <a:alpha val="38000"/>
            </a:srgbClr>
          </a:solidFill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0" name="Agrupar 19">
            <a:extLst>
              <a:ext uri="{FF2B5EF4-FFF2-40B4-BE49-F238E27FC236}">
                <a16:creationId xmlns:a16="http://schemas.microsoft.com/office/drawing/2014/main" id="{A0A8BB3A-3C85-4555-8F01-E6723FEAAD62}"/>
              </a:ext>
            </a:extLst>
          </p:cNvPr>
          <p:cNvGrpSpPr/>
          <p:nvPr/>
        </p:nvGrpSpPr>
        <p:grpSpPr>
          <a:xfrm>
            <a:off x="3874649" y="757761"/>
            <a:ext cx="2285210" cy="1893999"/>
            <a:chOff x="3874648" y="757761"/>
            <a:chExt cx="2780645" cy="2304619"/>
          </a:xfrm>
        </p:grpSpPr>
        <p:pic>
          <p:nvPicPr>
            <p:cNvPr id="13" name="Imagem 12" descr="Tela de computador com texto preto sobre fundo branco&#10;&#10;Descrição gerada automaticamente com confiança baixa">
              <a:extLst>
                <a:ext uri="{FF2B5EF4-FFF2-40B4-BE49-F238E27FC236}">
                  <a16:creationId xmlns:a16="http://schemas.microsoft.com/office/drawing/2014/main" id="{D68C1A21-4BFD-4520-8984-70F2639952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1011" t="4892" r="24919" b="18956"/>
            <a:stretch/>
          </p:blipFill>
          <p:spPr>
            <a:xfrm>
              <a:off x="3874648" y="757761"/>
              <a:ext cx="2780645" cy="2304619"/>
            </a:xfrm>
            <a:prstGeom prst="rect">
              <a:avLst/>
            </a:prstGeom>
            <a:ln w="12700">
              <a:solidFill>
                <a:srgbClr val="B50130"/>
              </a:solidFill>
            </a:ln>
          </p:spPr>
        </p:pic>
        <p:sp>
          <p:nvSpPr>
            <p:cNvPr id="25" name="Elipse 24">
              <a:extLst>
                <a:ext uri="{FF2B5EF4-FFF2-40B4-BE49-F238E27FC236}">
                  <a16:creationId xmlns:a16="http://schemas.microsoft.com/office/drawing/2014/main" id="{9CF2C9FA-1766-4DFE-9583-21676E1341E4}"/>
                </a:ext>
              </a:extLst>
            </p:cNvPr>
            <p:cNvSpPr/>
            <p:nvPr/>
          </p:nvSpPr>
          <p:spPr>
            <a:xfrm>
              <a:off x="5604386" y="1478280"/>
              <a:ext cx="379095" cy="216000"/>
            </a:xfrm>
            <a:prstGeom prst="ellipse">
              <a:avLst/>
            </a:prstGeom>
            <a:solidFill>
              <a:srgbClr val="B50130">
                <a:alpha val="4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Elipse 27">
              <a:extLst>
                <a:ext uri="{FF2B5EF4-FFF2-40B4-BE49-F238E27FC236}">
                  <a16:creationId xmlns:a16="http://schemas.microsoft.com/office/drawing/2014/main" id="{82ECEA22-461C-4611-9AB2-1B39A73D7901}"/>
                </a:ext>
              </a:extLst>
            </p:cNvPr>
            <p:cNvSpPr/>
            <p:nvPr/>
          </p:nvSpPr>
          <p:spPr>
            <a:xfrm>
              <a:off x="5163696" y="1731645"/>
              <a:ext cx="379095" cy="216000"/>
            </a:xfrm>
            <a:prstGeom prst="ellipse">
              <a:avLst/>
            </a:prstGeom>
            <a:solidFill>
              <a:srgbClr val="B50130">
                <a:alpha val="4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9" name="Elipse 28">
              <a:extLst>
                <a:ext uri="{FF2B5EF4-FFF2-40B4-BE49-F238E27FC236}">
                  <a16:creationId xmlns:a16="http://schemas.microsoft.com/office/drawing/2014/main" id="{9B4832CC-E7DB-45DF-A762-D5C3A5C27B4C}"/>
                </a:ext>
              </a:extLst>
            </p:cNvPr>
            <p:cNvSpPr/>
            <p:nvPr/>
          </p:nvSpPr>
          <p:spPr>
            <a:xfrm>
              <a:off x="4592826" y="2062566"/>
              <a:ext cx="379095" cy="216000"/>
            </a:xfrm>
            <a:prstGeom prst="ellipse">
              <a:avLst/>
            </a:prstGeom>
            <a:solidFill>
              <a:srgbClr val="B50130">
                <a:alpha val="4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0" name="Elipse 29">
              <a:extLst>
                <a:ext uri="{FF2B5EF4-FFF2-40B4-BE49-F238E27FC236}">
                  <a16:creationId xmlns:a16="http://schemas.microsoft.com/office/drawing/2014/main" id="{2AC13EBE-2974-422D-AA53-504FAC67F997}"/>
                </a:ext>
              </a:extLst>
            </p:cNvPr>
            <p:cNvSpPr/>
            <p:nvPr/>
          </p:nvSpPr>
          <p:spPr>
            <a:xfrm>
              <a:off x="4318570" y="1902546"/>
              <a:ext cx="309600" cy="180000"/>
            </a:xfrm>
            <a:prstGeom prst="ellipse">
              <a:avLst/>
            </a:prstGeom>
            <a:solidFill>
              <a:srgbClr val="B50130">
                <a:alpha val="4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4367CAF6-C25F-4118-8AB6-320D5FF8C1B6}"/>
              </a:ext>
            </a:extLst>
          </p:cNvPr>
          <p:cNvSpPr txBox="1"/>
          <p:nvPr/>
        </p:nvSpPr>
        <p:spPr>
          <a:xfrm>
            <a:off x="6454562" y="1777715"/>
            <a:ext cx="187318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100">
                <a:solidFill>
                  <a:schemeClr val="bg1">
                    <a:lumMod val="50000"/>
                  </a:schemeClr>
                </a:solidFill>
              </a:rPr>
              <a:t>ORIFÍCIOS PARA CABOS DE DISPOSITIVOS DE AQUECIMENTO ADICIONAIS</a:t>
            </a:r>
          </a:p>
        </p:txBody>
      </p:sp>
      <p:cxnSp>
        <p:nvCxnSpPr>
          <p:cNvPr id="32" name="Conector: Angulado 31">
            <a:extLst>
              <a:ext uri="{FF2B5EF4-FFF2-40B4-BE49-F238E27FC236}">
                <a16:creationId xmlns:a16="http://schemas.microsoft.com/office/drawing/2014/main" id="{C15ED443-5523-4D6B-899B-72BDF063D0C7}"/>
              </a:ext>
            </a:extLst>
          </p:cNvPr>
          <p:cNvCxnSpPr>
            <a:cxnSpLocks/>
            <a:stCxn id="31" idx="1"/>
            <a:endCxn id="25" idx="4"/>
          </p:cNvCxnSpPr>
          <p:nvPr/>
        </p:nvCxnSpPr>
        <p:spPr>
          <a:xfrm rot="10800000">
            <a:off x="5451972" y="1527419"/>
            <a:ext cx="1002591" cy="465741"/>
          </a:xfrm>
          <a:prstGeom prst="bentConnector2">
            <a:avLst/>
          </a:prstGeom>
          <a:ln w="12700">
            <a:solidFill>
              <a:srgbClr val="B5013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439351C8-9F45-4A02-A65D-24D529795681}"/>
              </a:ext>
            </a:extLst>
          </p:cNvPr>
          <p:cNvSpPr txBox="1"/>
          <p:nvPr/>
        </p:nvSpPr>
        <p:spPr>
          <a:xfrm>
            <a:off x="6454562" y="2656244"/>
            <a:ext cx="18731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100">
                <a:solidFill>
                  <a:schemeClr val="bg1">
                    <a:lumMod val="50000"/>
                  </a:schemeClr>
                </a:solidFill>
              </a:rPr>
              <a:t>ORIFÍCIO PARA CABO DE ALIMENTAÇÃO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EEAC9017-8103-4834-BD27-68C677C56E81}"/>
              </a:ext>
            </a:extLst>
          </p:cNvPr>
          <p:cNvSpPr txBox="1"/>
          <p:nvPr/>
        </p:nvSpPr>
        <p:spPr>
          <a:xfrm>
            <a:off x="6454562" y="1068462"/>
            <a:ext cx="254678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100">
                <a:solidFill>
                  <a:schemeClr val="bg1">
                    <a:lumMod val="50000"/>
                  </a:schemeClr>
                </a:solidFill>
              </a:rPr>
              <a:t>ORIFÍCIO PARA CABO DE COMUNICAÇÃO</a:t>
            </a:r>
          </a:p>
        </p:txBody>
      </p:sp>
      <p:cxnSp>
        <p:nvCxnSpPr>
          <p:cNvPr id="39" name="Conector: Angulado 38">
            <a:extLst>
              <a:ext uri="{FF2B5EF4-FFF2-40B4-BE49-F238E27FC236}">
                <a16:creationId xmlns:a16="http://schemas.microsoft.com/office/drawing/2014/main" id="{41C6866F-5A18-47DD-BCF9-0AC9F5D4C7FF}"/>
              </a:ext>
            </a:extLst>
          </p:cNvPr>
          <p:cNvCxnSpPr>
            <a:cxnSpLocks/>
            <a:stCxn id="31" idx="1"/>
            <a:endCxn id="28" idx="4"/>
          </p:cNvCxnSpPr>
          <p:nvPr/>
        </p:nvCxnSpPr>
        <p:spPr>
          <a:xfrm rot="10800000">
            <a:off x="5089800" y="1735641"/>
            <a:ext cx="1364762" cy="257518"/>
          </a:xfrm>
          <a:prstGeom prst="bentConnector2">
            <a:avLst/>
          </a:prstGeom>
          <a:ln w="12700">
            <a:solidFill>
              <a:srgbClr val="B5013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: Angulado 41">
            <a:extLst>
              <a:ext uri="{FF2B5EF4-FFF2-40B4-BE49-F238E27FC236}">
                <a16:creationId xmlns:a16="http://schemas.microsoft.com/office/drawing/2014/main" id="{71EAF1BC-23FC-441D-AE6B-381FD1F72AB3}"/>
              </a:ext>
            </a:extLst>
          </p:cNvPr>
          <p:cNvCxnSpPr>
            <a:cxnSpLocks/>
            <a:stCxn id="33" idx="1"/>
            <a:endCxn id="29" idx="4"/>
          </p:cNvCxnSpPr>
          <p:nvPr/>
        </p:nvCxnSpPr>
        <p:spPr>
          <a:xfrm rot="10800000">
            <a:off x="4620644" y="2007601"/>
            <a:ext cx="1833919" cy="779449"/>
          </a:xfrm>
          <a:prstGeom prst="bentConnector2">
            <a:avLst/>
          </a:prstGeom>
          <a:ln w="12700">
            <a:solidFill>
              <a:srgbClr val="B5013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: Angulado 44">
            <a:extLst>
              <a:ext uri="{FF2B5EF4-FFF2-40B4-BE49-F238E27FC236}">
                <a16:creationId xmlns:a16="http://schemas.microsoft.com/office/drawing/2014/main" id="{2D2C7CFB-4736-4CC1-9413-7FF9CEB8B650}"/>
              </a:ext>
            </a:extLst>
          </p:cNvPr>
          <p:cNvCxnSpPr>
            <a:cxnSpLocks/>
            <a:stCxn id="34" idx="1"/>
            <a:endCxn id="30" idx="0"/>
          </p:cNvCxnSpPr>
          <p:nvPr/>
        </p:nvCxnSpPr>
        <p:spPr>
          <a:xfrm rot="10800000" flipV="1">
            <a:off x="4366696" y="1199267"/>
            <a:ext cx="2087867" cy="499310"/>
          </a:xfrm>
          <a:prstGeom prst="bentConnector2">
            <a:avLst/>
          </a:prstGeom>
          <a:ln w="12700">
            <a:solidFill>
              <a:srgbClr val="B5013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8117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4D500299-33DD-427A-9211-C9C8B0C7A1E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584"/>
          <a:stretch/>
        </p:blipFill>
        <p:spPr>
          <a:xfrm>
            <a:off x="0" y="2541127"/>
            <a:ext cx="8633460" cy="260237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1</a:t>
            </a:fld>
            <a:r>
              <a:rPr lang="pt-PT"/>
              <a:t> |</a:t>
            </a:r>
          </a:p>
        </p:txBody>
      </p: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42F854F7-6659-4074-857F-A3D7DBE44D09}"/>
              </a:ext>
            </a:extLst>
          </p:cNvPr>
          <p:cNvSpPr/>
          <p:nvPr/>
        </p:nvSpPr>
        <p:spPr>
          <a:xfrm>
            <a:off x="1659256" y="3689571"/>
            <a:ext cx="563880" cy="169947"/>
          </a:xfrm>
          <a:custGeom>
            <a:avLst/>
            <a:gdLst>
              <a:gd name="connsiteX0" fmla="*/ 0 w 916305"/>
              <a:gd name="connsiteY0" fmla="*/ 331470 h 400050"/>
              <a:gd name="connsiteX1" fmla="*/ 394335 w 916305"/>
              <a:gd name="connsiteY1" fmla="*/ 0 h 400050"/>
              <a:gd name="connsiteX2" fmla="*/ 916305 w 916305"/>
              <a:gd name="connsiteY2" fmla="*/ 66675 h 400050"/>
              <a:gd name="connsiteX3" fmla="*/ 544830 w 916305"/>
              <a:gd name="connsiteY3" fmla="*/ 400050 h 400050"/>
              <a:gd name="connsiteX4" fmla="*/ 0 w 916305"/>
              <a:gd name="connsiteY4" fmla="*/ 331470 h 400050"/>
              <a:gd name="connsiteX0" fmla="*/ 0 w 916305"/>
              <a:gd name="connsiteY0" fmla="*/ 331470 h 403647"/>
              <a:gd name="connsiteX1" fmla="*/ 394335 w 916305"/>
              <a:gd name="connsiteY1" fmla="*/ 0 h 403647"/>
              <a:gd name="connsiteX2" fmla="*/ 916305 w 916305"/>
              <a:gd name="connsiteY2" fmla="*/ 66675 h 403647"/>
              <a:gd name="connsiteX3" fmla="*/ 290194 w 916305"/>
              <a:gd name="connsiteY3" fmla="*/ 403647 h 403647"/>
              <a:gd name="connsiteX4" fmla="*/ 0 w 916305"/>
              <a:gd name="connsiteY4" fmla="*/ 331470 h 403647"/>
              <a:gd name="connsiteX0" fmla="*/ 0 w 518918"/>
              <a:gd name="connsiteY0" fmla="*/ 331470 h 403647"/>
              <a:gd name="connsiteX1" fmla="*/ 394335 w 518918"/>
              <a:gd name="connsiteY1" fmla="*/ 0 h 403647"/>
              <a:gd name="connsiteX2" fmla="*/ 518918 w 518918"/>
              <a:gd name="connsiteY2" fmla="*/ 196176 h 403647"/>
              <a:gd name="connsiteX3" fmla="*/ 290194 w 518918"/>
              <a:gd name="connsiteY3" fmla="*/ 403647 h 403647"/>
              <a:gd name="connsiteX4" fmla="*/ 0 w 518918"/>
              <a:gd name="connsiteY4" fmla="*/ 331470 h 403647"/>
              <a:gd name="connsiteX0" fmla="*/ 0 w 518918"/>
              <a:gd name="connsiteY0" fmla="*/ 248734 h 320911"/>
              <a:gd name="connsiteX1" fmla="*/ 305598 w 518918"/>
              <a:gd name="connsiteY1" fmla="*/ 0 h 320911"/>
              <a:gd name="connsiteX2" fmla="*/ 518918 w 518918"/>
              <a:gd name="connsiteY2" fmla="*/ 113440 h 320911"/>
              <a:gd name="connsiteX3" fmla="*/ 290194 w 518918"/>
              <a:gd name="connsiteY3" fmla="*/ 320911 h 320911"/>
              <a:gd name="connsiteX4" fmla="*/ 0 w 518918"/>
              <a:gd name="connsiteY4" fmla="*/ 248734 h 320911"/>
              <a:gd name="connsiteX0" fmla="*/ 0 w 561357"/>
              <a:gd name="connsiteY0" fmla="*/ 248734 h 320911"/>
              <a:gd name="connsiteX1" fmla="*/ 305598 w 561357"/>
              <a:gd name="connsiteY1" fmla="*/ 0 h 320911"/>
              <a:gd name="connsiteX2" fmla="*/ 561357 w 561357"/>
              <a:gd name="connsiteY2" fmla="*/ 77468 h 320911"/>
              <a:gd name="connsiteX3" fmla="*/ 290194 w 561357"/>
              <a:gd name="connsiteY3" fmla="*/ 320911 h 320911"/>
              <a:gd name="connsiteX4" fmla="*/ 0 w 561357"/>
              <a:gd name="connsiteY4" fmla="*/ 248734 h 320911"/>
              <a:gd name="connsiteX0" fmla="*/ 0 w 571002"/>
              <a:gd name="connsiteY0" fmla="*/ 248734 h 320911"/>
              <a:gd name="connsiteX1" fmla="*/ 305598 w 571002"/>
              <a:gd name="connsiteY1" fmla="*/ 0 h 320911"/>
              <a:gd name="connsiteX2" fmla="*/ 571002 w 571002"/>
              <a:gd name="connsiteY2" fmla="*/ 63079 h 320911"/>
              <a:gd name="connsiteX3" fmla="*/ 290194 w 571002"/>
              <a:gd name="connsiteY3" fmla="*/ 320911 h 320911"/>
              <a:gd name="connsiteX4" fmla="*/ 0 w 571002"/>
              <a:gd name="connsiteY4" fmla="*/ 248734 h 320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1002" h="320911">
                <a:moveTo>
                  <a:pt x="0" y="248734"/>
                </a:moveTo>
                <a:lnTo>
                  <a:pt x="305598" y="0"/>
                </a:lnTo>
                <a:lnTo>
                  <a:pt x="571002" y="63079"/>
                </a:lnTo>
                <a:lnTo>
                  <a:pt x="290194" y="320911"/>
                </a:lnTo>
                <a:lnTo>
                  <a:pt x="0" y="248734"/>
                </a:lnTo>
                <a:close/>
              </a:path>
            </a:pathLst>
          </a:custGeom>
          <a:solidFill>
            <a:srgbClr val="B50130">
              <a:alpha val="38000"/>
            </a:srgbClr>
          </a:solidFill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Imagem 5" descr="Uma imagem contendo Forma&#10;&#10;Descrição gerada automaticamente">
            <a:extLst>
              <a:ext uri="{FF2B5EF4-FFF2-40B4-BE49-F238E27FC236}">
                <a16:creationId xmlns:a16="http://schemas.microsoft.com/office/drawing/2014/main" id="{D380C9B2-57A6-4B3C-A489-F395177078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997" r="12205"/>
          <a:stretch/>
        </p:blipFill>
        <p:spPr>
          <a:xfrm>
            <a:off x="5504688" y="742303"/>
            <a:ext cx="3533792" cy="2434204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6" name="CaixaDeTexto 25">
            <a:extLst>
              <a:ext uri="{FF2B5EF4-FFF2-40B4-BE49-F238E27FC236}">
                <a16:creationId xmlns:a16="http://schemas.microsoft.com/office/drawing/2014/main" id="{F62A21DC-6014-40A4-A879-C9CAB4C8862A}"/>
              </a:ext>
            </a:extLst>
          </p:cNvPr>
          <p:cNvSpPr txBox="1"/>
          <p:nvPr/>
        </p:nvSpPr>
        <p:spPr>
          <a:xfrm>
            <a:off x="965736" y="1096015"/>
            <a:ext cx="341757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A cablagem (</a:t>
            </a:r>
            <a:r>
              <a:rPr lang="pt-PT" sz="1400" dirty="0">
                <a:solidFill>
                  <a:srgbClr val="B50130"/>
                </a:solidFill>
              </a:rPr>
              <a:t>de alimentação e comunicação</a:t>
            </a: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) deverão ser puxados através da base de assentamento para ligação no quadro elétrico da </a:t>
            </a:r>
            <a:r>
              <a:rPr lang="pt-PT" sz="1400" dirty="0" err="1">
                <a:solidFill>
                  <a:schemeClr val="bg1">
                    <a:lumMod val="50000"/>
                  </a:schemeClr>
                </a:solidFill>
              </a:rPr>
              <a:t>Rooftop</a:t>
            </a: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258768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Diagrama, Desenho técnico&#10;&#10;Descrição gerada automaticamente">
            <a:extLst>
              <a:ext uri="{FF2B5EF4-FFF2-40B4-BE49-F238E27FC236}">
                <a16:creationId xmlns:a16="http://schemas.microsoft.com/office/drawing/2014/main" id="{329B7D0F-F37C-4D65-9BBD-630C518BFFC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393" b="8280"/>
          <a:stretch/>
        </p:blipFill>
        <p:spPr>
          <a:xfrm>
            <a:off x="0" y="1479604"/>
            <a:ext cx="9144000" cy="366389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2</a:t>
            </a:fld>
            <a:r>
              <a:rPr lang="pt-PT"/>
              <a:t> |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423AFCEF-08EE-42E1-A4F7-C957826F1BA0}"/>
              </a:ext>
            </a:extLst>
          </p:cNvPr>
          <p:cNvSpPr txBox="1"/>
          <p:nvPr/>
        </p:nvSpPr>
        <p:spPr>
          <a:xfrm>
            <a:off x="210214" y="671023"/>
            <a:ext cx="8526772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Certifique-se de que a borracha de ligação não sofreu danos durante o transporte.</a:t>
            </a:r>
          </a:p>
          <a:p>
            <a:pPr algn="ctr">
              <a:spcAft>
                <a:spcPts val="600"/>
              </a:spcAft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Se necessário, esta borracha montada de fábrica terá de ser substituída ou reparada antes de instalação da </a:t>
            </a:r>
            <a:r>
              <a:rPr lang="pt-PT" sz="1400" dirty="0" err="1">
                <a:solidFill>
                  <a:schemeClr val="bg1">
                    <a:lumMod val="50000"/>
                  </a:schemeClr>
                </a:solidFill>
              </a:rPr>
              <a:t>Rooftop</a:t>
            </a: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</p:txBody>
      </p:sp>
      <p:sp>
        <p:nvSpPr>
          <p:cNvPr id="15" name="Seta: para a Direita 14">
            <a:extLst>
              <a:ext uri="{FF2B5EF4-FFF2-40B4-BE49-F238E27FC236}">
                <a16:creationId xmlns:a16="http://schemas.microsoft.com/office/drawing/2014/main" id="{73C609C4-466F-45DE-8DF3-733ABB314B4D}"/>
              </a:ext>
            </a:extLst>
          </p:cNvPr>
          <p:cNvSpPr/>
          <p:nvPr/>
        </p:nvSpPr>
        <p:spPr>
          <a:xfrm rot="2651080">
            <a:off x="643050" y="2279845"/>
            <a:ext cx="710419" cy="583809"/>
          </a:xfrm>
          <a:prstGeom prst="rightArrow">
            <a:avLst/>
          </a:prstGeom>
          <a:solidFill>
            <a:srgbClr val="B5013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8106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334509"/>
            <a:ext cx="8636876" cy="1371600"/>
          </a:xfrm>
        </p:spPr>
        <p:txBody>
          <a:bodyPr/>
          <a:lstStyle/>
          <a:p>
            <a:pPr>
              <a:spcAft>
                <a:spcPts val="1800"/>
              </a:spcAft>
            </a:pPr>
            <a:br>
              <a:rPr lang="pt-PT" sz="1200" b="1" dirty="0"/>
            </a:br>
            <a:br>
              <a:rPr lang="pt-PT" sz="1200" b="1" dirty="0"/>
            </a:br>
            <a:br>
              <a:rPr lang="pt-PT" sz="1200" b="1" dirty="0"/>
            </a:br>
            <a:br>
              <a:rPr lang="pt-PT" sz="1200" b="1" dirty="0"/>
            </a:br>
            <a:r>
              <a:rPr lang="pt-PT" sz="4800" b="1" dirty="0"/>
              <a:t>e-</a:t>
            </a:r>
            <a:r>
              <a:rPr lang="pt-PT" sz="4800" b="1" dirty="0" err="1"/>
              <a:t>Baltic</a:t>
            </a:r>
            <a:br>
              <a:rPr lang="pt-PT" sz="4000" b="1" dirty="0"/>
            </a:br>
            <a:r>
              <a:rPr lang="pt-PT" b="1" dirty="0"/>
              <a:t>Instalação da unidade </a:t>
            </a:r>
            <a:r>
              <a:rPr lang="pt-PT" b="1" dirty="0" err="1"/>
              <a:t>Rooftop</a:t>
            </a:r>
            <a:endParaRPr lang="pt-PT" b="1" dirty="0"/>
          </a:p>
        </p:txBody>
      </p:sp>
    </p:spTree>
    <p:extLst>
      <p:ext uri="{BB962C8B-B14F-4D97-AF65-F5344CB8AC3E}">
        <p14:creationId xmlns:p14="http://schemas.microsoft.com/office/powerpoint/2010/main" val="211536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Diagrama, Desenho técnico&#10;&#10;Descrição gerada automaticamente">
            <a:extLst>
              <a:ext uri="{FF2B5EF4-FFF2-40B4-BE49-F238E27FC236}">
                <a16:creationId xmlns:a16="http://schemas.microsoft.com/office/drawing/2014/main" id="{F1B6EDDB-3F50-4EFC-8665-96AE3FA3CC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740" y="1678918"/>
            <a:ext cx="4815115" cy="3061825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4</a:t>
            </a:fld>
            <a:r>
              <a:rPr lang="pt-PT"/>
              <a:t> |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423AFCEF-08EE-42E1-A4F7-C957826F1BA0}"/>
              </a:ext>
            </a:extLst>
          </p:cNvPr>
          <p:cNvSpPr txBox="1"/>
          <p:nvPr/>
        </p:nvSpPr>
        <p:spPr>
          <a:xfrm>
            <a:off x="1154430" y="890707"/>
            <a:ext cx="683514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t-PT" sz="1400">
                <a:solidFill>
                  <a:schemeClr val="bg1">
                    <a:lumMod val="50000"/>
                  </a:schemeClr>
                </a:solidFill>
              </a:rPr>
              <a:t>RETIRAR A PROTEÇÃO DO EMPILHADOR SITUADA SOB A MÁQUINA </a:t>
            </a:r>
          </a:p>
          <a:p>
            <a:pPr algn="ctr">
              <a:spcAft>
                <a:spcPts val="600"/>
              </a:spcAft>
            </a:pPr>
            <a:r>
              <a:rPr lang="pt-PT" sz="1400">
                <a:solidFill>
                  <a:schemeClr val="bg1">
                    <a:lumMod val="50000"/>
                  </a:schemeClr>
                </a:solidFill>
              </a:rPr>
              <a:t>Antes da instalação, retire as camisas de proteção do empilhador que se encontram sob a unidade.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89CC6EF4-5393-40DC-990E-60413DC7C79E}"/>
              </a:ext>
            </a:extLst>
          </p:cNvPr>
          <p:cNvSpPr txBox="1"/>
          <p:nvPr/>
        </p:nvSpPr>
        <p:spPr>
          <a:xfrm>
            <a:off x="5289551" y="1717113"/>
            <a:ext cx="3703312" cy="2985433"/>
          </a:xfrm>
          <a:prstGeom prst="rect">
            <a:avLst/>
          </a:prstGeom>
          <a:noFill/>
          <a:ln>
            <a:solidFill>
              <a:srgbClr val="B50130"/>
            </a:solidFill>
          </a:ln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Ao remover as calhas para os garfos do empilhador, deve haver cuidado para não magoar pessoas que se encontrem na vizinhança.</a:t>
            </a:r>
          </a:p>
          <a:p>
            <a:pPr algn="ctr">
              <a:spcAft>
                <a:spcPts val="600"/>
              </a:spcAft>
            </a:pP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>
              <a:spcAft>
                <a:spcPts val="600"/>
              </a:spcAft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Para retirar da unidade as calhas do empilhador, a unidade deverá ser colocada numa área segura.</a:t>
            </a:r>
          </a:p>
          <a:p>
            <a:pPr algn="ctr">
              <a:spcAft>
                <a:spcPts val="600"/>
              </a:spcAft>
            </a:pP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>
              <a:spcAft>
                <a:spcPts val="600"/>
              </a:spcAft>
            </a:pPr>
            <a:r>
              <a:rPr lang="pt-PT" sz="1400" dirty="0">
                <a:solidFill>
                  <a:srgbClr val="B50130"/>
                </a:solidFill>
              </a:rPr>
              <a:t>AVISO: NUNCA UTILIZE UM EMPILHADOR PARA TRANSPORTAR A UNIDADE SEM ESTAS CAMISAS DE PROTEÇÃO COLOCADAS.</a:t>
            </a:r>
          </a:p>
        </p:txBody>
      </p:sp>
    </p:spTree>
    <p:extLst>
      <p:ext uri="{BB962C8B-B14F-4D97-AF65-F5344CB8AC3E}">
        <p14:creationId xmlns:p14="http://schemas.microsoft.com/office/powerpoint/2010/main" val="4061286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Tela de computador com texto preto sobre fundo branco&#10;&#10;Descrição gerada automaticamente com confiança média">
            <a:extLst>
              <a:ext uri="{FF2B5EF4-FFF2-40B4-BE49-F238E27FC236}">
                <a16:creationId xmlns:a16="http://schemas.microsoft.com/office/drawing/2014/main" id="{398FE9C6-D004-4404-BC8E-564B4F28BEEE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27032" y="447351"/>
            <a:ext cx="3771776" cy="4653885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  <a:endParaRPr lang="en-US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EC39F2-7773-9641-957D-47E9D005E398}" type="datetime1">
              <a:rPr kumimoji="0" lang="fr-FR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/11/2021</a:t>
            </a:fld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79D5AC-1C0B-9841-873A-C169B35CF2CF}" type="slidenum">
              <a:rPr kumimoji="0" lang="fr-FR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 |</a:t>
            </a:r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423AFCEF-08EE-42E1-A4F7-C957826F1BA0}"/>
              </a:ext>
            </a:extLst>
          </p:cNvPr>
          <p:cNvSpPr txBox="1"/>
          <p:nvPr/>
        </p:nvSpPr>
        <p:spPr>
          <a:xfrm>
            <a:off x="4032032" y="810104"/>
            <a:ext cx="487574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400" dirty="0">
                <a:solidFill>
                  <a:srgbClr val="B50130"/>
                </a:solidFill>
              </a:rPr>
              <a:t>Preparação da elevação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Coloque grilhões de elevação em cada olhal de elevação localizado em cada canto da unidade (algumas unidades podem ter 6 olhais de elevação)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Diâmetro máximo do eixo do anel = 20 mm</a:t>
            </a:r>
          </a:p>
        </p:txBody>
      </p:sp>
      <p:cxnSp>
        <p:nvCxnSpPr>
          <p:cNvPr id="16" name="Conector: Angulado 15">
            <a:extLst>
              <a:ext uri="{FF2B5EF4-FFF2-40B4-BE49-F238E27FC236}">
                <a16:creationId xmlns:a16="http://schemas.microsoft.com/office/drawing/2014/main" id="{6B01E039-9327-40B5-ADCB-5D16620EF513}"/>
              </a:ext>
            </a:extLst>
          </p:cNvPr>
          <p:cNvCxnSpPr>
            <a:cxnSpLocks/>
            <a:stCxn id="23" idx="3"/>
            <a:endCxn id="8" idx="2"/>
          </p:cNvCxnSpPr>
          <p:nvPr/>
        </p:nvCxnSpPr>
        <p:spPr>
          <a:xfrm flipV="1">
            <a:off x="1733550" y="4653115"/>
            <a:ext cx="4736352" cy="316020"/>
          </a:xfrm>
          <a:prstGeom prst="bentConnector2">
            <a:avLst/>
          </a:prstGeom>
          <a:noFill/>
          <a:ln w="12700" cap="rnd">
            <a:solidFill>
              <a:srgbClr val="8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3" name="Forma Livre: Forma 22">
            <a:extLst>
              <a:ext uri="{FF2B5EF4-FFF2-40B4-BE49-F238E27FC236}">
                <a16:creationId xmlns:a16="http://schemas.microsoft.com/office/drawing/2014/main" id="{520312B5-CDDA-4246-8412-D904D90BFE56}"/>
              </a:ext>
            </a:extLst>
          </p:cNvPr>
          <p:cNvSpPr/>
          <p:nvPr/>
        </p:nvSpPr>
        <p:spPr>
          <a:xfrm>
            <a:off x="282448" y="4446963"/>
            <a:ext cx="1451102" cy="522172"/>
          </a:xfrm>
          <a:custGeom>
            <a:avLst/>
            <a:gdLst>
              <a:gd name="connsiteX0" fmla="*/ 0 w 1163320"/>
              <a:gd name="connsiteY0" fmla="*/ 177800 h 596900"/>
              <a:gd name="connsiteX1" fmla="*/ 0 w 1163320"/>
              <a:gd name="connsiteY1" fmla="*/ 0 h 596900"/>
              <a:gd name="connsiteX2" fmla="*/ 1163320 w 1163320"/>
              <a:gd name="connsiteY2" fmla="*/ 424180 h 596900"/>
              <a:gd name="connsiteX3" fmla="*/ 1163320 w 1163320"/>
              <a:gd name="connsiteY3" fmla="*/ 596900 h 596900"/>
              <a:gd name="connsiteX4" fmla="*/ 0 w 1163320"/>
              <a:gd name="connsiteY4" fmla="*/ 177800 h 59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3320" h="596900">
                <a:moveTo>
                  <a:pt x="0" y="177800"/>
                </a:moveTo>
                <a:lnTo>
                  <a:pt x="0" y="0"/>
                </a:lnTo>
                <a:lnTo>
                  <a:pt x="1163320" y="424180"/>
                </a:lnTo>
                <a:lnTo>
                  <a:pt x="1163320" y="596900"/>
                </a:lnTo>
                <a:lnTo>
                  <a:pt x="0" y="177800"/>
                </a:lnTo>
                <a:close/>
              </a:path>
            </a:pathLst>
          </a:custGeom>
          <a:noFill/>
          <a:ln w="12700" cap="rnd">
            <a:solidFill>
              <a:srgbClr val="8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pic>
        <p:nvPicPr>
          <p:cNvPr id="8" name="Imagem 7" descr="Uma imagem contendo Diagrama&#10;&#10;Descrição gerada automaticamente">
            <a:extLst>
              <a:ext uri="{FF2B5EF4-FFF2-40B4-BE49-F238E27FC236}">
                <a16:creationId xmlns:a16="http://schemas.microsoft.com/office/drawing/2014/main" id="{8668ED30-9351-4C92-93EE-191F6551E1D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528" r="3897"/>
          <a:stretch/>
        </p:blipFill>
        <p:spPr>
          <a:xfrm>
            <a:off x="4032032" y="2265680"/>
            <a:ext cx="4875740" cy="2387435"/>
          </a:xfrm>
          <a:prstGeom prst="rect">
            <a:avLst/>
          </a:prstGeom>
          <a:ln w="12700">
            <a:solidFill>
              <a:srgbClr val="800000"/>
            </a:solidFill>
          </a:ln>
        </p:spPr>
      </p:pic>
    </p:spTree>
    <p:extLst>
      <p:ext uri="{BB962C8B-B14F-4D97-AF65-F5344CB8AC3E}">
        <p14:creationId xmlns:p14="http://schemas.microsoft.com/office/powerpoint/2010/main" val="263255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5DD29325-A9CC-4291-84AC-AB04DB6C70F3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7003" y="622574"/>
            <a:ext cx="3597567" cy="452092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6</a:t>
            </a:fld>
            <a:r>
              <a:rPr lang="pt-PT"/>
              <a:t> |</a:t>
            </a:r>
          </a:p>
        </p:txBody>
      </p:sp>
      <p:sp>
        <p:nvSpPr>
          <p:cNvPr id="4" name="Forma Livre: Forma 3">
            <a:extLst>
              <a:ext uri="{FF2B5EF4-FFF2-40B4-BE49-F238E27FC236}">
                <a16:creationId xmlns:a16="http://schemas.microsoft.com/office/drawing/2014/main" id="{5A649680-AB56-434F-A171-2E92CF918755}"/>
              </a:ext>
            </a:extLst>
          </p:cNvPr>
          <p:cNvSpPr/>
          <p:nvPr/>
        </p:nvSpPr>
        <p:spPr>
          <a:xfrm>
            <a:off x="2143760" y="914400"/>
            <a:ext cx="1488440" cy="3352800"/>
          </a:xfrm>
          <a:custGeom>
            <a:avLst/>
            <a:gdLst>
              <a:gd name="connsiteX0" fmla="*/ 0 w 1488440"/>
              <a:gd name="connsiteY0" fmla="*/ 0 h 3352800"/>
              <a:gd name="connsiteX1" fmla="*/ 1295400 w 1488440"/>
              <a:gd name="connsiteY1" fmla="*/ 2560320 h 3352800"/>
              <a:gd name="connsiteX2" fmla="*/ 1290320 w 1488440"/>
              <a:gd name="connsiteY2" fmla="*/ 2611120 h 3352800"/>
              <a:gd name="connsiteX3" fmla="*/ 1488440 w 1488440"/>
              <a:gd name="connsiteY3" fmla="*/ 3352800 h 335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88440" h="3352800">
                <a:moveTo>
                  <a:pt x="0" y="0"/>
                </a:moveTo>
                <a:lnTo>
                  <a:pt x="1295400" y="2560320"/>
                </a:lnTo>
                <a:lnTo>
                  <a:pt x="1290320" y="2611120"/>
                </a:lnTo>
                <a:lnTo>
                  <a:pt x="1488440" y="3352800"/>
                </a:lnTo>
              </a:path>
            </a:pathLst>
          </a:custGeom>
          <a:ln w="57150" cap="rnd">
            <a:solidFill>
              <a:srgbClr val="FFC000"/>
            </a:solidFill>
          </a:ln>
          <a:effectLst>
            <a:glow rad="50800">
              <a:srgbClr val="800000">
                <a:alpha val="80000"/>
              </a:srgb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8675BCDF-CC68-4598-8325-4E8569D959E3}"/>
              </a:ext>
            </a:extLst>
          </p:cNvPr>
          <p:cNvSpPr txBox="1"/>
          <p:nvPr/>
        </p:nvSpPr>
        <p:spPr>
          <a:xfrm rot="3801366">
            <a:off x="2672324" y="2265164"/>
            <a:ext cx="9448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>
                <a:solidFill>
                  <a:srgbClr val="800000"/>
                </a:solidFill>
              </a:rPr>
              <a:t>5 m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5A9A28CA-815C-4FF4-A4B2-41D8F051B2FA}"/>
              </a:ext>
            </a:extLst>
          </p:cNvPr>
          <p:cNvSpPr txBox="1"/>
          <p:nvPr/>
        </p:nvSpPr>
        <p:spPr>
          <a:xfrm>
            <a:off x="4032032" y="810104"/>
            <a:ext cx="4875740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400" dirty="0">
                <a:solidFill>
                  <a:srgbClr val="B50130"/>
                </a:solidFill>
              </a:rPr>
              <a:t>Preparação da elevação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pt-PT" sz="1200" dirty="0">
                <a:solidFill>
                  <a:schemeClr val="bg1">
                    <a:lumMod val="50000"/>
                  </a:schemeClr>
                </a:solidFill>
              </a:rPr>
              <a:t>Utilize estropos de 5 m (mínimo) em cada grilheta.</a:t>
            </a:r>
          </a:p>
        </p:txBody>
      </p:sp>
    </p:spTree>
    <p:extLst>
      <p:ext uri="{BB962C8B-B14F-4D97-AF65-F5344CB8AC3E}">
        <p14:creationId xmlns:p14="http://schemas.microsoft.com/office/powerpoint/2010/main" val="3172202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Diagrama&#10;&#10;Descrição gerada automaticamente">
            <a:extLst>
              <a:ext uri="{FF2B5EF4-FFF2-40B4-BE49-F238E27FC236}">
                <a16:creationId xmlns:a16="http://schemas.microsoft.com/office/drawing/2014/main" id="{1F1464D1-D6C6-482E-950F-56617012CC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72241" y="2486248"/>
            <a:ext cx="4047860" cy="221481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2" name="Retângulo 11">
            <a:extLst>
              <a:ext uri="{FF2B5EF4-FFF2-40B4-BE49-F238E27FC236}">
                <a16:creationId xmlns:a16="http://schemas.microsoft.com/office/drawing/2014/main" id="{A46D4E5E-E678-483B-8117-B1471F387750}"/>
              </a:ext>
            </a:extLst>
          </p:cNvPr>
          <p:cNvSpPr/>
          <p:nvPr/>
        </p:nvSpPr>
        <p:spPr>
          <a:xfrm>
            <a:off x="4372241" y="2486248"/>
            <a:ext cx="4047860" cy="2214818"/>
          </a:xfrm>
          <a:prstGeom prst="rect">
            <a:avLst/>
          </a:prstGeom>
          <a:solidFill>
            <a:schemeClr val="bg1">
              <a:alpha val="85000"/>
            </a:schemeClr>
          </a:solidFill>
          <a:ln w="12700"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Imagem 8" descr="Tela de computador com texto preto sobre fundo branco&#10;&#10;Descrição gerada automaticamente com confiança baixa">
            <a:extLst>
              <a:ext uri="{FF2B5EF4-FFF2-40B4-BE49-F238E27FC236}">
                <a16:creationId xmlns:a16="http://schemas.microsoft.com/office/drawing/2014/main" id="{06BE70AE-C704-4C93-A287-E516869910D3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72241" y="2486248"/>
            <a:ext cx="4047860" cy="2214818"/>
          </a:xfrm>
          <a:prstGeom prst="rect">
            <a:avLst/>
          </a:prstGeom>
          <a:ln>
            <a:noFill/>
          </a:ln>
        </p:spPr>
      </p:pic>
      <p:pic>
        <p:nvPicPr>
          <p:cNvPr id="5" name="Imagem 4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5DD29325-A9CC-4291-84AC-AB04DB6C70F3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7003" y="622574"/>
            <a:ext cx="3597567" cy="452092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7</a:t>
            </a:fld>
            <a:r>
              <a:rPr lang="pt-PT"/>
              <a:t> |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74FAAAC7-2F18-41D7-B729-C2F53948BAEB}"/>
              </a:ext>
            </a:extLst>
          </p:cNvPr>
          <p:cNvSpPr txBox="1"/>
          <p:nvPr/>
        </p:nvSpPr>
        <p:spPr>
          <a:xfrm>
            <a:off x="4032032" y="810104"/>
            <a:ext cx="4875740" cy="9771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400" dirty="0">
                <a:solidFill>
                  <a:srgbClr val="B50130"/>
                </a:solidFill>
              </a:rPr>
              <a:t>Preparação da elevação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pt-PT" sz="1200" dirty="0">
                <a:solidFill>
                  <a:schemeClr val="bg1">
                    <a:lumMod val="85000"/>
                  </a:schemeClr>
                </a:solidFill>
              </a:rPr>
              <a:t>Utilize estropos de 5 m (mínimo) em cada grilheta.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pt-PT" sz="1200" dirty="0">
                <a:solidFill>
                  <a:schemeClr val="bg1">
                    <a:lumMod val="50000"/>
                  </a:schemeClr>
                </a:solidFill>
              </a:rPr>
              <a:t>Coloque um pedaço de cartão em cada estropo para proteger a unidade </a:t>
            </a:r>
            <a:r>
              <a:rPr lang="pt-PT" sz="1200" dirty="0" err="1">
                <a:solidFill>
                  <a:schemeClr val="bg1">
                    <a:lumMod val="50000"/>
                  </a:schemeClr>
                </a:solidFill>
              </a:rPr>
              <a:t>Rooftop</a:t>
            </a:r>
            <a:r>
              <a:rPr lang="pt-PT" sz="120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79542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5DD29325-A9CC-4291-84AC-AB04DB6C70F3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87003" y="622574"/>
            <a:ext cx="3597567" cy="452092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8</a:t>
            </a:fld>
            <a:r>
              <a:rPr lang="pt-PT"/>
              <a:t> |</a:t>
            </a:r>
          </a:p>
        </p:txBody>
      </p:sp>
      <p:pic>
        <p:nvPicPr>
          <p:cNvPr id="13" name="Imagem 12" descr="Diagrama&#10;&#10;Descrição gerada automaticamente">
            <a:extLst>
              <a:ext uri="{FF2B5EF4-FFF2-40B4-BE49-F238E27FC236}">
                <a16:creationId xmlns:a16="http://schemas.microsoft.com/office/drawing/2014/main" id="{21FBFCA7-E33A-4993-9CD7-8CE53D64DC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2241" y="2486248"/>
            <a:ext cx="4047860" cy="221481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5" name="Retângulo 14">
            <a:extLst>
              <a:ext uri="{FF2B5EF4-FFF2-40B4-BE49-F238E27FC236}">
                <a16:creationId xmlns:a16="http://schemas.microsoft.com/office/drawing/2014/main" id="{DE3442C4-AE3F-4C43-A3C6-93F3E6084E48}"/>
              </a:ext>
            </a:extLst>
          </p:cNvPr>
          <p:cNvSpPr/>
          <p:nvPr/>
        </p:nvSpPr>
        <p:spPr>
          <a:xfrm>
            <a:off x="4372241" y="2486248"/>
            <a:ext cx="4047860" cy="2214818"/>
          </a:xfrm>
          <a:prstGeom prst="rect">
            <a:avLst/>
          </a:prstGeom>
          <a:solidFill>
            <a:schemeClr val="bg1">
              <a:alpha val="85000"/>
            </a:schemeClr>
          </a:solidFill>
          <a:ln w="12700"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F87EA165-E531-4656-81A1-9040FD2FBC7C}"/>
              </a:ext>
            </a:extLst>
          </p:cNvPr>
          <p:cNvSpPr txBox="1"/>
          <p:nvPr/>
        </p:nvSpPr>
        <p:spPr>
          <a:xfrm>
            <a:off x="4032032" y="715447"/>
            <a:ext cx="4875740" cy="1792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400" dirty="0">
                <a:solidFill>
                  <a:srgbClr val="B50130"/>
                </a:solidFill>
              </a:rPr>
              <a:t>Preparação da elevação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pt-PT" sz="1200" dirty="0">
                <a:solidFill>
                  <a:schemeClr val="bg1">
                    <a:lumMod val="85000"/>
                  </a:schemeClr>
                </a:solidFill>
              </a:rPr>
              <a:t>Utilize estropos de 5 m (mínimo) em cada grilheta.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pt-PT" sz="1200" dirty="0">
                <a:solidFill>
                  <a:schemeClr val="bg1">
                    <a:lumMod val="85000"/>
                  </a:schemeClr>
                </a:solidFill>
              </a:rPr>
              <a:t>Coloque um pedaço de cartão em cada estropo para proteger a unidade </a:t>
            </a:r>
            <a:r>
              <a:rPr lang="pt-PT" sz="1200" dirty="0" err="1">
                <a:solidFill>
                  <a:schemeClr val="bg1">
                    <a:lumMod val="85000"/>
                  </a:schemeClr>
                </a:solidFill>
              </a:rPr>
              <a:t>Rooftop</a:t>
            </a:r>
            <a:r>
              <a:rPr lang="pt-PT" sz="1200" dirty="0">
                <a:solidFill>
                  <a:schemeClr val="bg1">
                    <a:lumMod val="85000"/>
                  </a:schemeClr>
                </a:solidFill>
              </a:rPr>
              <a:t>.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pt-PT" sz="1200" dirty="0">
                <a:solidFill>
                  <a:schemeClr val="bg1">
                    <a:lumMod val="50000"/>
                  </a:schemeClr>
                </a:solidFill>
              </a:rPr>
              <a:t>A unidade tem de ser elevada recorrendo a barras espaçadoras para evitar que os estropos danifiquem a unidade.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pt-PT" sz="1200" dirty="0">
                <a:solidFill>
                  <a:schemeClr val="bg1">
                    <a:lumMod val="50000"/>
                  </a:schemeClr>
                </a:solidFill>
              </a:rPr>
              <a:t>As barras espaçadoras deverão ser de comprimento igual à largura da unidade.</a:t>
            </a:r>
          </a:p>
        </p:txBody>
      </p:sp>
      <p:pic>
        <p:nvPicPr>
          <p:cNvPr id="11" name="Imagem 10" descr="Forma&#10;&#10;Descrição gerada automaticamente">
            <a:extLst>
              <a:ext uri="{FF2B5EF4-FFF2-40B4-BE49-F238E27FC236}">
                <a16:creationId xmlns:a16="http://schemas.microsoft.com/office/drawing/2014/main" id="{9E7A8866-EC06-4D25-9F08-010DDFB06A58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72241" y="2486248"/>
            <a:ext cx="4047860" cy="221481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63739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39</a:t>
            </a:fld>
            <a:r>
              <a:rPr lang="pt-P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E678120-994E-45AB-B63C-D67E1AC4308D}"/>
              </a:ext>
            </a:extLst>
          </p:cNvPr>
          <p:cNvSpPr txBox="1"/>
          <p:nvPr/>
        </p:nvSpPr>
        <p:spPr>
          <a:xfrm>
            <a:off x="793429" y="1400923"/>
            <a:ext cx="2978472" cy="24160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t-PT"/>
              <a:t>De forma lenta e progressiva, coloque tensão nos estropos até que a unidade comece a movimentar-se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pt-PT">
                <a:solidFill>
                  <a:srgbClr val="B50130"/>
                </a:solidFill>
              </a:rPr>
              <a:t>Certifique-se de que a unidade se move na horizontal </a:t>
            </a:r>
          </a:p>
        </p:txBody>
      </p:sp>
      <p:pic>
        <p:nvPicPr>
          <p:cNvPr id="8" name="Gráfico 7" descr="Aviso com preenchimento sólido">
            <a:extLst>
              <a:ext uri="{FF2B5EF4-FFF2-40B4-BE49-F238E27FC236}">
                <a16:creationId xmlns:a16="http://schemas.microsoft.com/office/drawing/2014/main" id="{DE4C874E-7871-4342-8041-19FB928607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032335" y="2822080"/>
            <a:ext cx="500660" cy="500660"/>
          </a:xfrm>
          <a:prstGeom prst="rect">
            <a:avLst/>
          </a:prstGeom>
        </p:spPr>
      </p:pic>
      <p:pic>
        <p:nvPicPr>
          <p:cNvPr id="5" name="Imagem 4" descr="Diagrama, Desenho técnico&#10;&#10;Descrição gerada automaticamente">
            <a:extLst>
              <a:ext uri="{FF2B5EF4-FFF2-40B4-BE49-F238E27FC236}">
                <a16:creationId xmlns:a16="http://schemas.microsoft.com/office/drawing/2014/main" id="{42BC7984-7011-43B5-B57B-3B20DDDE621C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628703" y="622574"/>
            <a:ext cx="3385580" cy="4520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824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orma Livre: Forma 29">
            <a:extLst>
              <a:ext uri="{FF2B5EF4-FFF2-40B4-BE49-F238E27FC236}">
                <a16:creationId xmlns:a16="http://schemas.microsoft.com/office/drawing/2014/main" id="{09A3FD0A-0277-4B87-A27E-D5ED10DA3CEE}"/>
              </a:ext>
            </a:extLst>
          </p:cNvPr>
          <p:cNvSpPr/>
          <p:nvPr/>
        </p:nvSpPr>
        <p:spPr>
          <a:xfrm>
            <a:off x="3297780" y="3125043"/>
            <a:ext cx="1381125" cy="944880"/>
          </a:xfrm>
          <a:custGeom>
            <a:avLst/>
            <a:gdLst>
              <a:gd name="connsiteX0" fmla="*/ 0 w 1381125"/>
              <a:gd name="connsiteY0" fmla="*/ 335280 h 944880"/>
              <a:gd name="connsiteX1" fmla="*/ 1381125 w 1381125"/>
              <a:gd name="connsiteY1" fmla="*/ 944880 h 944880"/>
              <a:gd name="connsiteX2" fmla="*/ 1381125 w 1381125"/>
              <a:gd name="connsiteY2" fmla="*/ 611505 h 944880"/>
              <a:gd name="connsiteX3" fmla="*/ 1905 w 1381125"/>
              <a:gd name="connsiteY3" fmla="*/ 0 h 944880"/>
              <a:gd name="connsiteX4" fmla="*/ 0 w 1381125"/>
              <a:gd name="connsiteY4" fmla="*/ 335280 h 944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1125" h="944880">
                <a:moveTo>
                  <a:pt x="0" y="335280"/>
                </a:moveTo>
                <a:lnTo>
                  <a:pt x="1381125" y="944880"/>
                </a:lnTo>
                <a:lnTo>
                  <a:pt x="1381125" y="611505"/>
                </a:lnTo>
                <a:lnTo>
                  <a:pt x="1905" y="0"/>
                </a:lnTo>
                <a:lnTo>
                  <a:pt x="0" y="335280"/>
                </a:lnTo>
                <a:close/>
              </a:path>
            </a:pathLst>
          </a:custGeom>
          <a:noFill/>
          <a:ln w="12700" cap="rnd">
            <a:solidFill>
              <a:srgbClr val="B5013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pic>
        <p:nvPicPr>
          <p:cNvPr id="7" name="Imagem 6" descr="Em preto e branco&#10;&#10;Descrição gerada automaticamente com confiança média">
            <a:extLst>
              <a:ext uri="{FF2B5EF4-FFF2-40B4-BE49-F238E27FC236}">
                <a16:creationId xmlns:a16="http://schemas.microsoft.com/office/drawing/2014/main" id="{0B9F0DE9-814E-42DE-8F5C-02044874D052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25330" y="921141"/>
            <a:ext cx="4034943" cy="403494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  <a:endParaRPr lang="en-US" dirty="0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EC39F2-7773-9641-957D-47E9D005E398}" type="datetime1">
              <a:rPr kumimoji="0" lang="fr-FR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/11/2021</a:t>
            </a:fld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79D5AC-1C0B-9841-873A-C169B35CF2CF}" type="slidenum">
              <a:rPr kumimoji="0" lang="fr-FR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 |</a:t>
            </a:r>
            <a:endParaRPr kumimoji="0" lang="fr-FR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105434" y="714684"/>
            <a:ext cx="2526910" cy="146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Garantir que os ganchos de elevação são montados nas posições corretas.</a:t>
            </a:r>
          </a:p>
          <a:p>
            <a:pPr>
              <a:spcAft>
                <a:spcPts val="600"/>
              </a:spcAft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A base de assentamento possui </a:t>
            </a:r>
            <a:r>
              <a:rPr lang="pt-PT" sz="1400" dirty="0">
                <a:solidFill>
                  <a:srgbClr val="B50130"/>
                </a:solidFill>
              </a:rPr>
              <a:t>4 olhais de elevação</a:t>
            </a: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, um em cada canto.</a:t>
            </a:r>
          </a:p>
        </p:txBody>
      </p:sp>
      <p:cxnSp>
        <p:nvCxnSpPr>
          <p:cNvPr id="28" name="Conector: Angulado 27">
            <a:extLst>
              <a:ext uri="{FF2B5EF4-FFF2-40B4-BE49-F238E27FC236}">
                <a16:creationId xmlns:a16="http://schemas.microsoft.com/office/drawing/2014/main" id="{0643D62E-AB91-48C7-BEDF-BAFC2EF5F0D2}"/>
              </a:ext>
            </a:extLst>
          </p:cNvPr>
          <p:cNvCxnSpPr>
            <a:cxnSpLocks/>
            <a:endCxn id="11" idx="1"/>
          </p:cNvCxnSpPr>
          <p:nvPr/>
        </p:nvCxnSpPr>
        <p:spPr>
          <a:xfrm rot="5400000" flipH="1" flipV="1">
            <a:off x="3732607" y="1958617"/>
            <a:ext cx="1624736" cy="1256590"/>
          </a:xfrm>
          <a:prstGeom prst="bentConnector2">
            <a:avLst/>
          </a:prstGeom>
          <a:ln w="12700" cap="rnd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reto 51">
            <a:extLst>
              <a:ext uri="{FF2B5EF4-FFF2-40B4-BE49-F238E27FC236}">
                <a16:creationId xmlns:a16="http://schemas.microsoft.com/office/drawing/2014/main" id="{3C6DC8F5-00B0-4B33-857F-16E7DC055D67}"/>
              </a:ext>
            </a:extLst>
          </p:cNvPr>
          <p:cNvCxnSpPr>
            <a:cxnSpLocks/>
          </p:cNvCxnSpPr>
          <p:nvPr/>
        </p:nvCxnSpPr>
        <p:spPr>
          <a:xfrm>
            <a:off x="1759698" y="4833620"/>
            <a:ext cx="3165362" cy="0"/>
          </a:xfrm>
          <a:prstGeom prst="line">
            <a:avLst/>
          </a:prstGeom>
          <a:noFill/>
          <a:ln w="12700" cap="rnd"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4" name="Conector reto 53">
            <a:extLst>
              <a:ext uri="{FF2B5EF4-FFF2-40B4-BE49-F238E27FC236}">
                <a16:creationId xmlns:a16="http://schemas.microsoft.com/office/drawing/2014/main" id="{696CE16B-6D21-4A60-8C77-F396507092DC}"/>
              </a:ext>
            </a:extLst>
          </p:cNvPr>
          <p:cNvCxnSpPr>
            <a:cxnSpLocks/>
            <a:stCxn id="5" idx="1"/>
          </p:cNvCxnSpPr>
          <p:nvPr/>
        </p:nvCxnSpPr>
        <p:spPr>
          <a:xfrm flipH="1">
            <a:off x="4925060" y="3827817"/>
            <a:ext cx="248211" cy="0"/>
          </a:xfrm>
          <a:prstGeom prst="line">
            <a:avLst/>
          </a:prstGeom>
          <a:noFill/>
          <a:ln w="12700" cap="rnd"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8" name="Conector reto 57">
            <a:extLst>
              <a:ext uri="{FF2B5EF4-FFF2-40B4-BE49-F238E27FC236}">
                <a16:creationId xmlns:a16="http://schemas.microsoft.com/office/drawing/2014/main" id="{A8CD6E24-F6CF-45A6-AA48-86FEEF3A77A8}"/>
              </a:ext>
            </a:extLst>
          </p:cNvPr>
          <p:cNvCxnSpPr>
            <a:cxnSpLocks/>
          </p:cNvCxnSpPr>
          <p:nvPr/>
        </p:nvCxnSpPr>
        <p:spPr>
          <a:xfrm flipV="1">
            <a:off x="4925060" y="3827817"/>
            <a:ext cx="0" cy="1005803"/>
          </a:xfrm>
          <a:prstGeom prst="line">
            <a:avLst/>
          </a:prstGeom>
          <a:noFill/>
          <a:ln w="12700" cap="rnd"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" name="Forma Livre: Forma 18">
            <a:extLst>
              <a:ext uri="{FF2B5EF4-FFF2-40B4-BE49-F238E27FC236}">
                <a16:creationId xmlns:a16="http://schemas.microsoft.com/office/drawing/2014/main" id="{669F7899-A8B9-4425-9549-E35822BC477B}"/>
              </a:ext>
            </a:extLst>
          </p:cNvPr>
          <p:cNvSpPr/>
          <p:nvPr/>
        </p:nvSpPr>
        <p:spPr>
          <a:xfrm>
            <a:off x="1093470" y="3499485"/>
            <a:ext cx="1381125" cy="944880"/>
          </a:xfrm>
          <a:custGeom>
            <a:avLst/>
            <a:gdLst>
              <a:gd name="connsiteX0" fmla="*/ 0 w 1381125"/>
              <a:gd name="connsiteY0" fmla="*/ 335280 h 944880"/>
              <a:gd name="connsiteX1" fmla="*/ 1381125 w 1381125"/>
              <a:gd name="connsiteY1" fmla="*/ 944880 h 944880"/>
              <a:gd name="connsiteX2" fmla="*/ 1381125 w 1381125"/>
              <a:gd name="connsiteY2" fmla="*/ 611505 h 944880"/>
              <a:gd name="connsiteX3" fmla="*/ 1905 w 1381125"/>
              <a:gd name="connsiteY3" fmla="*/ 0 h 944880"/>
              <a:gd name="connsiteX4" fmla="*/ 0 w 1381125"/>
              <a:gd name="connsiteY4" fmla="*/ 335280 h 944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1125" h="944880">
                <a:moveTo>
                  <a:pt x="0" y="335280"/>
                </a:moveTo>
                <a:lnTo>
                  <a:pt x="1381125" y="944880"/>
                </a:lnTo>
                <a:lnTo>
                  <a:pt x="1381125" y="611505"/>
                </a:lnTo>
                <a:lnTo>
                  <a:pt x="1905" y="0"/>
                </a:lnTo>
                <a:lnTo>
                  <a:pt x="0" y="335280"/>
                </a:lnTo>
                <a:close/>
              </a:path>
            </a:pathLst>
          </a:custGeom>
          <a:noFill/>
          <a:ln w="12700" cap="rnd">
            <a:solidFill>
              <a:srgbClr val="B5013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cxnSp>
        <p:nvCxnSpPr>
          <p:cNvPr id="34" name="Conector reto 33">
            <a:extLst>
              <a:ext uri="{FF2B5EF4-FFF2-40B4-BE49-F238E27FC236}">
                <a16:creationId xmlns:a16="http://schemas.microsoft.com/office/drawing/2014/main" id="{767FE03C-9771-47C8-8A74-F3A8BA819BE4}"/>
              </a:ext>
            </a:extLst>
          </p:cNvPr>
          <p:cNvCxnSpPr>
            <a:cxnSpLocks/>
          </p:cNvCxnSpPr>
          <p:nvPr/>
        </p:nvCxnSpPr>
        <p:spPr>
          <a:xfrm flipV="1">
            <a:off x="1759698" y="4130040"/>
            <a:ext cx="0" cy="703581"/>
          </a:xfrm>
          <a:prstGeom prst="line">
            <a:avLst/>
          </a:prstGeom>
          <a:noFill/>
          <a:ln w="12700" cap="rnd"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5" name="Imagem 4" descr="Diagrama&#10;&#10;Descrição gerada automaticamente com confiança baixa">
            <a:extLst>
              <a:ext uri="{FF2B5EF4-FFF2-40B4-BE49-F238E27FC236}">
                <a16:creationId xmlns:a16="http://schemas.microsoft.com/office/drawing/2014/main" id="{547A5376-5CCC-4247-ACAE-6A250A07C54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733"/>
          <a:stretch/>
        </p:blipFill>
        <p:spPr>
          <a:xfrm>
            <a:off x="5173271" y="2938613"/>
            <a:ext cx="3590378" cy="177840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11" name="Imagem 10" descr="Diagrama, Desenho técnico&#10;&#10;Descrição gerada automaticamente">
            <a:extLst>
              <a:ext uri="{FF2B5EF4-FFF2-40B4-BE49-F238E27FC236}">
                <a16:creationId xmlns:a16="http://schemas.microsoft.com/office/drawing/2014/main" id="{661BF98B-F4FC-400D-BB85-7449608BB8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3270" y="802549"/>
            <a:ext cx="3585934" cy="1943989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</p:spTree>
    <p:extLst>
      <p:ext uri="{BB962C8B-B14F-4D97-AF65-F5344CB8AC3E}">
        <p14:creationId xmlns:p14="http://schemas.microsoft.com/office/powerpoint/2010/main" val="1323522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0</a:t>
            </a:fld>
            <a:r>
              <a:rPr lang="pt-P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E678120-994E-45AB-B63C-D67E1AC4308D}"/>
              </a:ext>
            </a:extLst>
          </p:cNvPr>
          <p:cNvSpPr txBox="1"/>
          <p:nvPr/>
        </p:nvSpPr>
        <p:spPr>
          <a:xfrm>
            <a:off x="270462" y="1021052"/>
            <a:ext cx="4111038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pt-PT" dirty="0"/>
              <a:t>Mova a unidade para o local de instalação.</a:t>
            </a:r>
          </a:p>
          <a:p>
            <a:pPr algn="l"/>
            <a:endParaRPr lang="en-GB" dirty="0"/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pt-PT" dirty="0"/>
              <a:t>O operador da grua e o instalador deverão estar na cobertura a orientar o condutor da grua, cuja visibilidade será limitada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endParaRPr lang="en-GB" dirty="0"/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pt-PT" dirty="0"/>
              <a:t>Deverão ser usadas pegas com ventosas para manobrar a unidade e posicioná-la na base de assentamento.</a:t>
            </a:r>
          </a:p>
        </p:txBody>
      </p:sp>
      <p:pic>
        <p:nvPicPr>
          <p:cNvPr id="1026" name="Picture 2" descr="Heavy Duty Aluminum Suction Cup Plate Double Handle Professional Glass  Puller/Lifter/Gripper Hand Tool Opening Pry Suction Cup|opening pry|pry  openingopen repair - AliExpress">
            <a:extLst>
              <a:ext uri="{FF2B5EF4-FFF2-40B4-BE49-F238E27FC236}">
                <a16:creationId xmlns:a16="http://schemas.microsoft.com/office/drawing/2014/main" id="{B4FCEB60-64D2-4FCD-B774-FE8AF73E2D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9058" y="3360154"/>
            <a:ext cx="1009650" cy="100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6E28E0E3-6E21-4949-881E-CC8F35D6F065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857176" y="637144"/>
            <a:ext cx="4703639" cy="4506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27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 descr="Diagrama, Desenho técnico&#10;&#10;Descrição gerada automaticamente">
            <a:extLst>
              <a:ext uri="{FF2B5EF4-FFF2-40B4-BE49-F238E27FC236}">
                <a16:creationId xmlns:a16="http://schemas.microsoft.com/office/drawing/2014/main" id="{F1D81347-176D-457D-BEB8-5CC04B3DF25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450" r="2072"/>
          <a:stretch/>
        </p:blipFill>
        <p:spPr>
          <a:xfrm>
            <a:off x="4251959" y="744941"/>
            <a:ext cx="4770121" cy="252666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1</a:t>
            </a:fld>
            <a:r>
              <a:rPr lang="pt-PT"/>
              <a:t> |</a:t>
            </a: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4ADF9F77-72A3-4BC6-90E7-3288FA7698AB}"/>
              </a:ext>
            </a:extLst>
          </p:cNvPr>
          <p:cNvSpPr/>
          <p:nvPr/>
        </p:nvSpPr>
        <p:spPr>
          <a:xfrm>
            <a:off x="4658978" y="2409641"/>
            <a:ext cx="750052" cy="593813"/>
          </a:xfrm>
          <a:prstGeom prst="rect">
            <a:avLst/>
          </a:prstGeom>
          <a:noFill/>
          <a:ln w="12700">
            <a:solidFill>
              <a:srgbClr val="8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5" name="Conector: Angulado 14">
            <a:extLst>
              <a:ext uri="{FF2B5EF4-FFF2-40B4-BE49-F238E27FC236}">
                <a16:creationId xmlns:a16="http://schemas.microsoft.com/office/drawing/2014/main" id="{5864F819-1047-4478-A4B3-681E35A95BA9}"/>
              </a:ext>
            </a:extLst>
          </p:cNvPr>
          <p:cNvCxnSpPr>
            <a:cxnSpLocks/>
            <a:stCxn id="14" idx="1"/>
            <a:endCxn id="6" idx="3"/>
          </p:cNvCxnSpPr>
          <p:nvPr/>
        </p:nvCxnSpPr>
        <p:spPr>
          <a:xfrm rot="10800000" flipV="1">
            <a:off x="3572142" y="2706547"/>
            <a:ext cx="1086837" cy="530957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80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8A79F76E-61EC-4408-AD47-42C9D9214C62}"/>
              </a:ext>
            </a:extLst>
          </p:cNvPr>
          <p:cNvSpPr txBox="1"/>
          <p:nvPr/>
        </p:nvSpPr>
        <p:spPr>
          <a:xfrm>
            <a:off x="302960" y="921486"/>
            <a:ext cx="332360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Puxe a cablagem (</a:t>
            </a:r>
            <a:r>
              <a:rPr lang="pt-PT" sz="1400" dirty="0">
                <a:solidFill>
                  <a:srgbClr val="B50130"/>
                </a:solidFill>
              </a:rPr>
              <a:t>fios de alimentação e de comunicação</a:t>
            </a: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) através da base da </a:t>
            </a:r>
            <a:r>
              <a:rPr lang="pt-PT" sz="1400" dirty="0" err="1">
                <a:solidFill>
                  <a:schemeClr val="bg1">
                    <a:lumMod val="50000"/>
                  </a:schemeClr>
                </a:solidFill>
              </a:rPr>
              <a:t>Rooftop</a:t>
            </a: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</p:txBody>
      </p:sp>
      <p:pic>
        <p:nvPicPr>
          <p:cNvPr id="6" name="Imagem 5" descr="Diagrama, Desenho técnico&#10;&#10;Descrição gerada automaticamente com confiança média">
            <a:extLst>
              <a:ext uri="{FF2B5EF4-FFF2-40B4-BE49-F238E27FC236}">
                <a16:creationId xmlns:a16="http://schemas.microsoft.com/office/drawing/2014/main" id="{0BCE03F1-C589-4BDF-BD14-F702E665115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1534"/>
          <a:stretch/>
        </p:blipFill>
        <p:spPr>
          <a:xfrm>
            <a:off x="357385" y="1887769"/>
            <a:ext cx="3214756" cy="2699471"/>
          </a:xfrm>
          <a:prstGeom prst="rect">
            <a:avLst/>
          </a:prstGeom>
          <a:ln w="12700">
            <a:solidFill>
              <a:srgbClr val="800000"/>
            </a:solidFill>
          </a:ln>
        </p:spPr>
      </p:pic>
    </p:spTree>
    <p:extLst>
      <p:ext uri="{BB962C8B-B14F-4D97-AF65-F5344CB8AC3E}">
        <p14:creationId xmlns:p14="http://schemas.microsoft.com/office/powerpoint/2010/main" val="325972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48259FD1-5EA3-4C98-B5ED-2A64DB0E53C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594295" y="630194"/>
            <a:ext cx="5549705" cy="413935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2</a:t>
            </a:fld>
            <a:r>
              <a:rPr lang="pt-P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E678120-994E-45AB-B63C-D67E1AC4308D}"/>
              </a:ext>
            </a:extLst>
          </p:cNvPr>
          <p:cNvSpPr txBox="1"/>
          <p:nvPr/>
        </p:nvSpPr>
        <p:spPr>
          <a:xfrm>
            <a:off x="272901" y="1256005"/>
            <a:ext cx="3321394" cy="2846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t-PT" dirty="0"/>
              <a:t>Com cuidado, posicione a unidade sobre a base de assentamento e retire os cabos de elevação e os grilhões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r>
              <a:rPr lang="pt-PT" dirty="0">
                <a:solidFill>
                  <a:srgbClr val="B50130"/>
                </a:solidFill>
              </a:rPr>
              <a:t>Certifique-se de que a carga é distribuída uniformemente durante o posicionamento da unidade </a:t>
            </a:r>
            <a:r>
              <a:rPr lang="pt-PT" dirty="0" err="1">
                <a:solidFill>
                  <a:srgbClr val="B50130"/>
                </a:solidFill>
              </a:rPr>
              <a:t>Rooftop</a:t>
            </a:r>
            <a:r>
              <a:rPr lang="pt-PT" dirty="0">
                <a:solidFill>
                  <a:srgbClr val="B50130"/>
                </a:solidFill>
              </a:rPr>
              <a:t> sobre a base de assentamento. </a:t>
            </a:r>
          </a:p>
        </p:txBody>
      </p:sp>
      <p:pic>
        <p:nvPicPr>
          <p:cNvPr id="12" name="Gráfico 11" descr="Aviso com preenchimento sólido">
            <a:extLst>
              <a:ext uri="{FF2B5EF4-FFF2-40B4-BE49-F238E27FC236}">
                <a16:creationId xmlns:a16="http://schemas.microsoft.com/office/drawing/2014/main" id="{21556024-2BC4-4B5D-942B-A89584F57C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683268" y="2641260"/>
            <a:ext cx="500660" cy="500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222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Uma imagem contendo Diagrama&#10;&#10;Descrição gerada automaticamente">
            <a:extLst>
              <a:ext uri="{FF2B5EF4-FFF2-40B4-BE49-F238E27FC236}">
                <a16:creationId xmlns:a16="http://schemas.microsoft.com/office/drawing/2014/main" id="{4F4A9555-4142-4EB1-B962-F8044D34EDB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7004" r="22330" b="23081"/>
          <a:stretch/>
        </p:blipFill>
        <p:spPr>
          <a:xfrm>
            <a:off x="6177781" y="2571750"/>
            <a:ext cx="2720872" cy="1789687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3</a:t>
            </a:fld>
            <a:r>
              <a:rPr lang="pt-PT"/>
              <a:t> |</a:t>
            </a:r>
          </a:p>
        </p:txBody>
      </p:sp>
      <p:pic>
        <p:nvPicPr>
          <p:cNvPr id="5" name="Imagem 4" descr="Uma imagem contendo Diagrama&#10;&#10;Descrição gerada automaticamente">
            <a:extLst>
              <a:ext uri="{FF2B5EF4-FFF2-40B4-BE49-F238E27FC236}">
                <a16:creationId xmlns:a16="http://schemas.microsoft.com/office/drawing/2014/main" id="{31E2C0E3-9FAD-438C-9D6F-ACF8044E9AB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7287" r="22047" b="23346"/>
          <a:stretch/>
        </p:blipFill>
        <p:spPr>
          <a:xfrm>
            <a:off x="245346" y="1990833"/>
            <a:ext cx="2720871" cy="1789687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8" name="Imagem 7" descr="Uma imagem contendo Diagrama&#10;&#10;Descrição gerada automaticamente">
            <a:extLst>
              <a:ext uri="{FF2B5EF4-FFF2-40B4-BE49-F238E27FC236}">
                <a16:creationId xmlns:a16="http://schemas.microsoft.com/office/drawing/2014/main" id="{7258AFB3-B41D-42C6-B57B-30E0251006D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7073" r="22260" b="22389"/>
          <a:stretch/>
        </p:blipFill>
        <p:spPr>
          <a:xfrm>
            <a:off x="3211563" y="2281291"/>
            <a:ext cx="2720872" cy="1789687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9AD7FE1E-9D11-4A84-BE94-280DF3DAF7BD}"/>
              </a:ext>
            </a:extLst>
          </p:cNvPr>
          <p:cNvSpPr txBox="1"/>
          <p:nvPr/>
        </p:nvSpPr>
        <p:spPr>
          <a:xfrm>
            <a:off x="245346" y="725174"/>
            <a:ext cx="530435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pt-PT" dirty="0"/>
              <a:t>A proteção da admissão de ar novo deve estar aberta e bloqueada durante o arranque.</a:t>
            </a:r>
            <a:r>
              <a:rPr lang="pt-PT" sz="1400" dirty="0"/>
              <a:t> </a:t>
            </a:r>
          </a:p>
          <a:p>
            <a:pPr algn="l"/>
            <a:r>
              <a:rPr lang="pt-PT" dirty="0"/>
              <a:t>É entregue fechada para evitar danos durante o transporte.</a:t>
            </a:r>
          </a:p>
          <a:p>
            <a:pPr marL="285750" indent="-285750" algn="l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PT" dirty="0">
                <a:solidFill>
                  <a:srgbClr val="B50130"/>
                </a:solidFill>
              </a:rPr>
              <a:t>Eleve a proteção da admissão de ar novo.</a:t>
            </a:r>
          </a:p>
        </p:txBody>
      </p:sp>
    </p:spTree>
    <p:extLst>
      <p:ext uri="{BB962C8B-B14F-4D97-AF65-F5344CB8AC3E}">
        <p14:creationId xmlns:p14="http://schemas.microsoft.com/office/powerpoint/2010/main" val="3845187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Uma imagem contendo eletrônico, circuito&#10;&#10;Descrição gerada automaticamente">
            <a:extLst>
              <a:ext uri="{FF2B5EF4-FFF2-40B4-BE49-F238E27FC236}">
                <a16:creationId xmlns:a16="http://schemas.microsoft.com/office/drawing/2014/main" id="{46D0DCF3-DB43-436A-93DD-729DDB320A6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4417" b="33791"/>
          <a:stretch/>
        </p:blipFill>
        <p:spPr>
          <a:xfrm>
            <a:off x="0" y="2262563"/>
            <a:ext cx="4972929" cy="2880937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4</a:t>
            </a:fld>
            <a:r>
              <a:rPr lang="pt-PT"/>
              <a:t> |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EDC895FC-FFE7-4AF9-8669-7094C8B83948}"/>
              </a:ext>
            </a:extLst>
          </p:cNvPr>
          <p:cNvSpPr txBox="1"/>
          <p:nvPr/>
        </p:nvSpPr>
        <p:spPr>
          <a:xfrm>
            <a:off x="245346" y="725174"/>
            <a:ext cx="530435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pt-PT" dirty="0"/>
              <a:t>A proteção da admissão de ar novo deve estar aberta e bloqueada durante o arranque.</a:t>
            </a:r>
            <a:r>
              <a:rPr lang="pt-PT" sz="1400" dirty="0"/>
              <a:t> </a:t>
            </a:r>
          </a:p>
          <a:p>
            <a:pPr algn="l"/>
            <a:r>
              <a:rPr lang="pt-PT" dirty="0"/>
              <a:t>É </a:t>
            </a:r>
            <a:r>
              <a:rPr lang="pt-PT" sz="1400" dirty="0"/>
              <a:t>entregue fechada para evitar danos durante o transporte.</a:t>
            </a:r>
          </a:p>
          <a:p>
            <a:pPr marL="285750" indent="-285750" algn="l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PT" dirty="0"/>
              <a:t>Eleve a proteção da admissão de ar novo.</a:t>
            </a:r>
          </a:p>
          <a:p>
            <a:pPr marL="285750" indent="-285750" algn="l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PT" dirty="0">
                <a:solidFill>
                  <a:srgbClr val="B50130"/>
                </a:solidFill>
              </a:rPr>
              <a:t>Desdobre ambas as placas laterais.</a:t>
            </a:r>
          </a:p>
        </p:txBody>
      </p:sp>
      <p:pic>
        <p:nvPicPr>
          <p:cNvPr id="14" name="Imagem 13" descr="Diagrama&#10;&#10;Descrição gerada automaticamente">
            <a:extLst>
              <a:ext uri="{FF2B5EF4-FFF2-40B4-BE49-F238E27FC236}">
                <a16:creationId xmlns:a16="http://schemas.microsoft.com/office/drawing/2014/main" id="{6B6CFDCE-A02C-4D9C-A3A1-61153C0E693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882" t="3069" r="13591" b="13193"/>
          <a:stretch/>
        </p:blipFill>
        <p:spPr>
          <a:xfrm>
            <a:off x="5404620" y="1216673"/>
            <a:ext cx="3494034" cy="3321326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0" name="Retângulo 19">
            <a:extLst>
              <a:ext uri="{FF2B5EF4-FFF2-40B4-BE49-F238E27FC236}">
                <a16:creationId xmlns:a16="http://schemas.microsoft.com/office/drawing/2014/main" id="{0990E494-D06E-40E4-B9EF-3F67F7C2B765}"/>
              </a:ext>
            </a:extLst>
          </p:cNvPr>
          <p:cNvSpPr/>
          <p:nvPr/>
        </p:nvSpPr>
        <p:spPr>
          <a:xfrm>
            <a:off x="2004646" y="3169296"/>
            <a:ext cx="1202790" cy="1249030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1" name="Conector: Angulado 20">
            <a:extLst>
              <a:ext uri="{FF2B5EF4-FFF2-40B4-BE49-F238E27FC236}">
                <a16:creationId xmlns:a16="http://schemas.microsoft.com/office/drawing/2014/main" id="{4DDE1C9C-1AB5-400E-BE7A-795BC2929D06}"/>
              </a:ext>
            </a:extLst>
          </p:cNvPr>
          <p:cNvCxnSpPr>
            <a:cxnSpLocks/>
            <a:stCxn id="20" idx="0"/>
            <a:endCxn id="14" idx="1"/>
          </p:cNvCxnSpPr>
          <p:nvPr/>
        </p:nvCxnSpPr>
        <p:spPr>
          <a:xfrm rot="5400000" flipH="1" flipV="1">
            <a:off x="3859350" y="1624027"/>
            <a:ext cx="291960" cy="2798579"/>
          </a:xfrm>
          <a:prstGeom prst="bentConnector2">
            <a:avLst/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581277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Diagrama, Desenho técnico&#10;&#10;Descrição gerada automaticamente">
            <a:extLst>
              <a:ext uri="{FF2B5EF4-FFF2-40B4-BE49-F238E27FC236}">
                <a16:creationId xmlns:a16="http://schemas.microsoft.com/office/drawing/2014/main" id="{321DC2EB-E12C-4147-B37C-53CC5DF06B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7275" y="2436137"/>
            <a:ext cx="5289451" cy="2533921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5</a:t>
            </a:fld>
            <a:r>
              <a:rPr lang="pt-P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CFE76605-84E1-42F0-BFEA-9DDEA77C0F45}"/>
              </a:ext>
            </a:extLst>
          </p:cNvPr>
          <p:cNvSpPr txBox="1"/>
          <p:nvPr/>
        </p:nvSpPr>
        <p:spPr>
          <a:xfrm>
            <a:off x="245346" y="725174"/>
            <a:ext cx="697138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pt-PT" dirty="0"/>
              <a:t>A proteção da admissão de ar novo deve estar aberta e bloqueada durante o arranque.</a:t>
            </a:r>
            <a:r>
              <a:rPr lang="pt-PT" sz="1400" dirty="0"/>
              <a:t> </a:t>
            </a:r>
          </a:p>
          <a:p>
            <a:pPr algn="l"/>
            <a:r>
              <a:rPr lang="pt-PT" sz="1400" dirty="0"/>
              <a:t>É entregue fechada para evitar danos durante o transporte.</a:t>
            </a:r>
          </a:p>
          <a:p>
            <a:pPr marL="285750" indent="-285750" algn="l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PT" dirty="0"/>
              <a:t>Eleve a proteção da admissão de ar novo.</a:t>
            </a:r>
          </a:p>
          <a:p>
            <a:pPr marL="285750" indent="-285750" algn="l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PT" dirty="0"/>
              <a:t>Desdobre ambas as placas laterais.</a:t>
            </a:r>
          </a:p>
          <a:p>
            <a:pPr marL="285750" indent="-285750" algn="l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pt-PT" dirty="0">
                <a:solidFill>
                  <a:srgbClr val="B50130"/>
                </a:solidFill>
              </a:rPr>
              <a:t>Verifique o posicionamento adequado do vedante preto sobre a proteção da admissão e prenda a proteção às placas laterais com parafusos </a:t>
            </a:r>
            <a:r>
              <a:rPr lang="pt-PT" dirty="0" err="1">
                <a:solidFill>
                  <a:srgbClr val="B50130"/>
                </a:solidFill>
              </a:rPr>
              <a:t>autorroscantes</a:t>
            </a:r>
            <a:r>
              <a:rPr lang="pt-PT" dirty="0">
                <a:solidFill>
                  <a:srgbClr val="B50130"/>
                </a:solidFill>
              </a:rPr>
              <a:t> (fornecidos na caixa de peças sobressalentes).</a:t>
            </a: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FC78B7AF-5156-4DF3-A60E-3283923D7469}"/>
              </a:ext>
            </a:extLst>
          </p:cNvPr>
          <p:cNvGrpSpPr/>
          <p:nvPr/>
        </p:nvGrpSpPr>
        <p:grpSpPr>
          <a:xfrm>
            <a:off x="3162236" y="2527785"/>
            <a:ext cx="3990263" cy="1871701"/>
            <a:chOff x="3162236" y="2612193"/>
            <a:chExt cx="3990263" cy="1871701"/>
          </a:xfrm>
        </p:grpSpPr>
        <p:sp>
          <p:nvSpPr>
            <p:cNvPr id="7" name="Seta: para Baixo 6">
              <a:extLst>
                <a:ext uri="{FF2B5EF4-FFF2-40B4-BE49-F238E27FC236}">
                  <a16:creationId xmlns:a16="http://schemas.microsoft.com/office/drawing/2014/main" id="{E8DB135F-6210-47F5-8A94-6C1AE7D3ADBA}"/>
                </a:ext>
              </a:extLst>
            </p:cNvPr>
            <p:cNvSpPr/>
            <p:nvPr/>
          </p:nvSpPr>
          <p:spPr>
            <a:xfrm rot="3055020">
              <a:off x="6546854" y="3080824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Seta: para Baixo 13">
              <a:extLst>
                <a:ext uri="{FF2B5EF4-FFF2-40B4-BE49-F238E27FC236}">
                  <a16:creationId xmlns:a16="http://schemas.microsoft.com/office/drawing/2014/main" id="{8BE0ADB2-2513-4A56-9224-4EE0E479F3BA}"/>
                </a:ext>
              </a:extLst>
            </p:cNvPr>
            <p:cNvSpPr/>
            <p:nvPr/>
          </p:nvSpPr>
          <p:spPr>
            <a:xfrm rot="3542364">
              <a:off x="6779264" y="3376495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Seta: para Baixo 15">
              <a:extLst>
                <a:ext uri="{FF2B5EF4-FFF2-40B4-BE49-F238E27FC236}">
                  <a16:creationId xmlns:a16="http://schemas.microsoft.com/office/drawing/2014/main" id="{F3A29E9B-6595-4904-A638-A4C14A1B089C}"/>
                </a:ext>
              </a:extLst>
            </p:cNvPr>
            <p:cNvSpPr/>
            <p:nvPr/>
          </p:nvSpPr>
          <p:spPr>
            <a:xfrm rot="3542364">
              <a:off x="6925949" y="3645100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Seta: para Baixo 16">
              <a:extLst>
                <a:ext uri="{FF2B5EF4-FFF2-40B4-BE49-F238E27FC236}">
                  <a16:creationId xmlns:a16="http://schemas.microsoft.com/office/drawing/2014/main" id="{85C6BA76-4BDE-430C-8DEA-C2EE24D94B9B}"/>
                </a:ext>
              </a:extLst>
            </p:cNvPr>
            <p:cNvSpPr/>
            <p:nvPr/>
          </p:nvSpPr>
          <p:spPr>
            <a:xfrm rot="5040862">
              <a:off x="6979290" y="3881148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Seta: para Baixo 17">
              <a:extLst>
                <a:ext uri="{FF2B5EF4-FFF2-40B4-BE49-F238E27FC236}">
                  <a16:creationId xmlns:a16="http://schemas.microsoft.com/office/drawing/2014/main" id="{B9DDD8B8-2D89-4B51-BF20-3094ADAE0283}"/>
                </a:ext>
              </a:extLst>
            </p:cNvPr>
            <p:cNvSpPr/>
            <p:nvPr/>
          </p:nvSpPr>
          <p:spPr>
            <a:xfrm rot="3055020">
              <a:off x="6338869" y="2880798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Seta: para Baixo 18">
              <a:extLst>
                <a:ext uri="{FF2B5EF4-FFF2-40B4-BE49-F238E27FC236}">
                  <a16:creationId xmlns:a16="http://schemas.microsoft.com/office/drawing/2014/main" id="{AB3D1700-1A3E-4D48-A0CA-B6CFF00C1532}"/>
                </a:ext>
              </a:extLst>
            </p:cNvPr>
            <p:cNvSpPr/>
            <p:nvPr/>
          </p:nvSpPr>
          <p:spPr>
            <a:xfrm rot="982597">
              <a:off x="5987637" y="2657913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0" name="Seta: para Baixo 19">
              <a:extLst>
                <a:ext uri="{FF2B5EF4-FFF2-40B4-BE49-F238E27FC236}">
                  <a16:creationId xmlns:a16="http://schemas.microsoft.com/office/drawing/2014/main" id="{C2389604-B416-4A57-8585-F5A8F4F43A7D}"/>
                </a:ext>
              </a:extLst>
            </p:cNvPr>
            <p:cNvSpPr/>
            <p:nvPr/>
          </p:nvSpPr>
          <p:spPr>
            <a:xfrm rot="982597">
              <a:off x="5891147" y="2612193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1" name="Seta: para Baixo 20">
              <a:extLst>
                <a:ext uri="{FF2B5EF4-FFF2-40B4-BE49-F238E27FC236}">
                  <a16:creationId xmlns:a16="http://schemas.microsoft.com/office/drawing/2014/main" id="{864C1E1C-B159-4CB2-83BA-B5BC16819ED4}"/>
                </a:ext>
              </a:extLst>
            </p:cNvPr>
            <p:cNvSpPr/>
            <p:nvPr/>
          </p:nvSpPr>
          <p:spPr>
            <a:xfrm rot="3055020">
              <a:off x="3845747" y="3465715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Seta: para Baixo 21">
              <a:extLst>
                <a:ext uri="{FF2B5EF4-FFF2-40B4-BE49-F238E27FC236}">
                  <a16:creationId xmlns:a16="http://schemas.microsoft.com/office/drawing/2014/main" id="{38AD4F5C-7538-48A7-B5EA-D7729CEEFE64}"/>
                </a:ext>
              </a:extLst>
            </p:cNvPr>
            <p:cNvSpPr/>
            <p:nvPr/>
          </p:nvSpPr>
          <p:spPr>
            <a:xfrm rot="3542364">
              <a:off x="4088452" y="3787688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Seta: para Baixo 22">
              <a:extLst>
                <a:ext uri="{FF2B5EF4-FFF2-40B4-BE49-F238E27FC236}">
                  <a16:creationId xmlns:a16="http://schemas.microsoft.com/office/drawing/2014/main" id="{5A97F1E5-8B53-433E-90FA-5285E22FB3C5}"/>
                </a:ext>
              </a:extLst>
            </p:cNvPr>
            <p:cNvSpPr/>
            <p:nvPr/>
          </p:nvSpPr>
          <p:spPr>
            <a:xfrm rot="3542364">
              <a:off x="4225047" y="4065465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Seta: para Baixo 23">
              <a:extLst>
                <a:ext uri="{FF2B5EF4-FFF2-40B4-BE49-F238E27FC236}">
                  <a16:creationId xmlns:a16="http://schemas.microsoft.com/office/drawing/2014/main" id="{2BDC8401-108C-498D-BC74-248D05AFD4AA}"/>
                </a:ext>
              </a:extLst>
            </p:cNvPr>
            <p:cNvSpPr/>
            <p:nvPr/>
          </p:nvSpPr>
          <p:spPr>
            <a:xfrm rot="5040862">
              <a:off x="4294193" y="4310686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" name="Seta: para Baixo 24">
              <a:extLst>
                <a:ext uri="{FF2B5EF4-FFF2-40B4-BE49-F238E27FC236}">
                  <a16:creationId xmlns:a16="http://schemas.microsoft.com/office/drawing/2014/main" id="{A00FD761-10AE-4888-A471-9408E95C1351}"/>
                </a:ext>
              </a:extLst>
            </p:cNvPr>
            <p:cNvSpPr/>
            <p:nvPr/>
          </p:nvSpPr>
          <p:spPr>
            <a:xfrm rot="3055020">
              <a:off x="3614000" y="3256981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" name="Seta: para Baixo 25">
              <a:extLst>
                <a:ext uri="{FF2B5EF4-FFF2-40B4-BE49-F238E27FC236}">
                  <a16:creationId xmlns:a16="http://schemas.microsoft.com/office/drawing/2014/main" id="{21C1F693-3D5C-4306-8370-4DA6859056A0}"/>
                </a:ext>
              </a:extLst>
            </p:cNvPr>
            <p:cNvSpPr/>
            <p:nvPr/>
          </p:nvSpPr>
          <p:spPr>
            <a:xfrm rot="982597">
              <a:off x="3266227" y="3020777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" name="Seta: para Baixo 26">
              <a:extLst>
                <a:ext uri="{FF2B5EF4-FFF2-40B4-BE49-F238E27FC236}">
                  <a16:creationId xmlns:a16="http://schemas.microsoft.com/office/drawing/2014/main" id="{A74B9A4A-E70A-4C97-8B33-CC8379DBB4D0}"/>
                </a:ext>
              </a:extLst>
            </p:cNvPr>
            <p:cNvSpPr/>
            <p:nvPr/>
          </p:nvSpPr>
          <p:spPr>
            <a:xfrm rot="982597">
              <a:off x="3162236" y="2962295"/>
              <a:ext cx="140677" cy="205740"/>
            </a:xfrm>
            <a:prstGeom prst="downArrow">
              <a:avLst/>
            </a:prstGeom>
            <a:solidFill>
              <a:srgbClr val="B50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32327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>
            <a:extLst>
              <a:ext uri="{FF2B5EF4-FFF2-40B4-BE49-F238E27FC236}">
                <a16:creationId xmlns:a16="http://schemas.microsoft.com/office/drawing/2014/main" id="{E06A0738-645F-402E-A619-AABAEE2CA2F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995" r="31564" b="43778"/>
          <a:stretch/>
        </p:blipFill>
        <p:spPr>
          <a:xfrm>
            <a:off x="4751122" y="2218395"/>
            <a:ext cx="3107615" cy="2754607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8" name="Imagem 7" descr="Diagrama&#10;&#10;Descrição gerada automaticamente">
            <a:extLst>
              <a:ext uri="{FF2B5EF4-FFF2-40B4-BE49-F238E27FC236}">
                <a16:creationId xmlns:a16="http://schemas.microsoft.com/office/drawing/2014/main" id="{49B0CB45-DD85-4466-9AA2-D4488BD2060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4606" r="14606"/>
          <a:stretch/>
        </p:blipFill>
        <p:spPr>
          <a:xfrm>
            <a:off x="1106140" y="2218395"/>
            <a:ext cx="3465860" cy="276514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5" name="Imagem 4" descr="Diagrama&#10;&#10;Descrição gerada automaticamente com confiança média">
            <a:extLst>
              <a:ext uri="{FF2B5EF4-FFF2-40B4-BE49-F238E27FC236}">
                <a16:creationId xmlns:a16="http://schemas.microsoft.com/office/drawing/2014/main" id="{DE6D8CBB-3F81-4496-B64E-0836815CF94B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080" r="6291" b="13101"/>
          <a:stretch/>
        </p:blipFill>
        <p:spPr>
          <a:xfrm>
            <a:off x="1862417" y="715059"/>
            <a:ext cx="2310206" cy="1273484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6</a:t>
            </a:fld>
            <a:r>
              <a:rPr lang="pt-P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CFE76605-84E1-42F0-BFEA-9DDEA77C0F45}"/>
              </a:ext>
            </a:extLst>
          </p:cNvPr>
          <p:cNvSpPr txBox="1"/>
          <p:nvPr/>
        </p:nvSpPr>
        <p:spPr>
          <a:xfrm>
            <a:off x="4476584" y="995667"/>
            <a:ext cx="310761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t-PT" sz="1400"/>
              <a:t>Certifique-se de que a drenagem fornecida para os condensados está instalada e apertada com uma </a:t>
            </a:r>
            <a:r>
              <a:rPr lang="pt-PT" sz="1400">
                <a:solidFill>
                  <a:srgbClr val="B50130"/>
                </a:solidFill>
              </a:rPr>
              <a:t>braçadeira de aperto</a:t>
            </a:r>
            <a:r>
              <a:rPr lang="pt-PT" sz="1400"/>
              <a:t>.</a:t>
            </a:r>
          </a:p>
        </p:txBody>
      </p:sp>
      <p:sp>
        <p:nvSpPr>
          <p:cNvPr id="29" name="Retângulo 28">
            <a:extLst>
              <a:ext uri="{FF2B5EF4-FFF2-40B4-BE49-F238E27FC236}">
                <a16:creationId xmlns:a16="http://schemas.microsoft.com/office/drawing/2014/main" id="{1CC68C90-39BB-4829-9ED9-C2A6F628AB13}"/>
              </a:ext>
            </a:extLst>
          </p:cNvPr>
          <p:cNvSpPr/>
          <p:nvPr/>
        </p:nvSpPr>
        <p:spPr>
          <a:xfrm>
            <a:off x="2352046" y="1610083"/>
            <a:ext cx="223532" cy="248495"/>
          </a:xfrm>
          <a:prstGeom prst="rect">
            <a:avLst/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30" name="Conector: Angulado 29">
            <a:extLst>
              <a:ext uri="{FF2B5EF4-FFF2-40B4-BE49-F238E27FC236}">
                <a16:creationId xmlns:a16="http://schemas.microsoft.com/office/drawing/2014/main" id="{A7C75D54-7163-430E-BBF8-AAECE1486E86}"/>
              </a:ext>
            </a:extLst>
          </p:cNvPr>
          <p:cNvCxnSpPr>
            <a:cxnSpLocks/>
            <a:stCxn id="29" idx="2"/>
            <a:endCxn id="8" idx="0"/>
          </p:cNvCxnSpPr>
          <p:nvPr/>
        </p:nvCxnSpPr>
        <p:spPr>
          <a:xfrm rot="16200000" flipH="1">
            <a:off x="2471533" y="1850857"/>
            <a:ext cx="359817" cy="375258"/>
          </a:xfrm>
          <a:prstGeom prst="bentConnector3">
            <a:avLst>
              <a:gd name="adj1" fmla="val 70494"/>
            </a:avLst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224352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334509"/>
            <a:ext cx="8636876" cy="1371600"/>
          </a:xfrm>
        </p:spPr>
        <p:txBody>
          <a:bodyPr/>
          <a:lstStyle/>
          <a:p>
            <a:pPr>
              <a:spcAft>
                <a:spcPts val="1800"/>
              </a:spcAft>
            </a:pPr>
            <a:br>
              <a:rPr lang="pt-PT" sz="1200" b="1" dirty="0"/>
            </a:br>
            <a:br>
              <a:rPr lang="pt-PT" sz="1200" b="1" dirty="0"/>
            </a:br>
            <a:br>
              <a:rPr lang="pt-PT" sz="1200" b="1" dirty="0"/>
            </a:br>
            <a:br>
              <a:rPr lang="pt-PT" sz="1200" b="1" dirty="0"/>
            </a:br>
            <a:r>
              <a:rPr lang="pt-PT" sz="4800" b="1" dirty="0"/>
              <a:t>e-</a:t>
            </a:r>
            <a:r>
              <a:rPr lang="pt-PT" sz="4800" b="1" dirty="0" err="1"/>
              <a:t>Baltic</a:t>
            </a:r>
            <a:br>
              <a:rPr lang="pt-PT" sz="4000" b="1" dirty="0"/>
            </a:br>
            <a:r>
              <a:rPr lang="pt-PT" b="1" dirty="0"/>
              <a:t>Instalação da cablagem da unidade </a:t>
            </a:r>
            <a:r>
              <a:rPr lang="pt-PT" b="1" dirty="0" err="1"/>
              <a:t>Rooftop</a:t>
            </a:r>
            <a:endParaRPr lang="pt-PT" b="1" dirty="0"/>
          </a:p>
        </p:txBody>
      </p:sp>
    </p:spTree>
    <p:extLst>
      <p:ext uri="{BB962C8B-B14F-4D97-AF65-F5344CB8AC3E}">
        <p14:creationId xmlns:p14="http://schemas.microsoft.com/office/powerpoint/2010/main" val="3311580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CABLAGEM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8</a:t>
            </a:fld>
            <a:r>
              <a:rPr lang="pt-P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E678120-994E-45AB-B63C-D67E1AC4308D}"/>
              </a:ext>
            </a:extLst>
          </p:cNvPr>
          <p:cNvSpPr txBox="1"/>
          <p:nvPr/>
        </p:nvSpPr>
        <p:spPr>
          <a:xfrm>
            <a:off x="822675" y="1156122"/>
            <a:ext cx="29038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t-PT"/>
              <a:t>Abra as 2 portas assinaladas.</a:t>
            </a:r>
          </a:p>
        </p:txBody>
      </p:sp>
      <p:pic>
        <p:nvPicPr>
          <p:cNvPr id="6" name="Imagem 5" descr="Uma imagem contendo Desenho técnico&#10;&#10;Descrição gerada automaticamente">
            <a:extLst>
              <a:ext uri="{FF2B5EF4-FFF2-40B4-BE49-F238E27FC236}">
                <a16:creationId xmlns:a16="http://schemas.microsoft.com/office/drawing/2014/main" id="{40C72148-8BC8-40C7-B1B1-8D4533E5FF6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418" r="7680"/>
          <a:stretch/>
        </p:blipFill>
        <p:spPr>
          <a:xfrm>
            <a:off x="274129" y="1801848"/>
            <a:ext cx="4160806" cy="2562476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8" name="Imagem 7" descr="Uma imagem contendo Desenho técnico&#10;&#10;Descrição gerada automaticamente">
            <a:extLst>
              <a:ext uri="{FF2B5EF4-FFF2-40B4-BE49-F238E27FC236}">
                <a16:creationId xmlns:a16="http://schemas.microsoft.com/office/drawing/2014/main" id="{E243F9BC-A70A-4C7B-98D9-D7437BAD475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7418" r="7680"/>
          <a:stretch/>
        </p:blipFill>
        <p:spPr>
          <a:xfrm>
            <a:off x="4709064" y="1793382"/>
            <a:ext cx="4160806" cy="257940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</p:spTree>
    <p:extLst>
      <p:ext uri="{BB962C8B-B14F-4D97-AF65-F5344CB8AC3E}">
        <p14:creationId xmlns:p14="http://schemas.microsoft.com/office/powerpoint/2010/main" val="703270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 descr="Gráfico&#10;&#10;Descrição gerada automaticamente com confiança baixa">
            <a:extLst>
              <a:ext uri="{FF2B5EF4-FFF2-40B4-BE49-F238E27FC236}">
                <a16:creationId xmlns:a16="http://schemas.microsoft.com/office/drawing/2014/main" id="{28A0D301-F3E3-4DAC-BDA0-66218018B59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476"/>
          <a:stretch/>
        </p:blipFill>
        <p:spPr>
          <a:xfrm>
            <a:off x="4663976" y="1434286"/>
            <a:ext cx="4296071" cy="3160609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11" name="Imagem 10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DDBF5EBB-FDDC-436C-8F49-C6AA4803B00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476"/>
          <a:stretch/>
        </p:blipFill>
        <p:spPr>
          <a:xfrm>
            <a:off x="183953" y="1435344"/>
            <a:ext cx="4296070" cy="3158492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CABLAGEM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49</a:t>
            </a:fld>
            <a:r>
              <a:rPr lang="pt-P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E678120-994E-45AB-B63C-D67E1AC4308D}"/>
              </a:ext>
            </a:extLst>
          </p:cNvPr>
          <p:cNvSpPr txBox="1"/>
          <p:nvPr/>
        </p:nvSpPr>
        <p:spPr>
          <a:xfrm>
            <a:off x="3120097" y="766820"/>
            <a:ext cx="29038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t-PT" dirty="0"/>
              <a:t>Retire da unidade </a:t>
            </a:r>
            <a:r>
              <a:rPr lang="pt-PT" dirty="0" err="1"/>
              <a:t>Rooftop</a:t>
            </a:r>
            <a:r>
              <a:rPr lang="pt-PT" dirty="0"/>
              <a:t> a placa metálica indicada.</a:t>
            </a:r>
          </a:p>
        </p:txBody>
      </p:sp>
      <p:sp>
        <p:nvSpPr>
          <p:cNvPr id="6" name="Forma Livre: Forma 5">
            <a:extLst>
              <a:ext uri="{FF2B5EF4-FFF2-40B4-BE49-F238E27FC236}">
                <a16:creationId xmlns:a16="http://schemas.microsoft.com/office/drawing/2014/main" id="{4717BABD-21C9-45D8-9540-6D1717E85D36}"/>
              </a:ext>
            </a:extLst>
          </p:cNvPr>
          <p:cNvSpPr/>
          <p:nvPr/>
        </p:nvSpPr>
        <p:spPr>
          <a:xfrm>
            <a:off x="3246289" y="2085781"/>
            <a:ext cx="566420" cy="1546860"/>
          </a:xfrm>
          <a:custGeom>
            <a:avLst/>
            <a:gdLst>
              <a:gd name="connsiteX0" fmla="*/ 457200 w 457200"/>
              <a:gd name="connsiteY0" fmla="*/ 1661160 h 1722120"/>
              <a:gd name="connsiteX1" fmla="*/ 457200 w 457200"/>
              <a:gd name="connsiteY1" fmla="*/ 215900 h 1722120"/>
              <a:gd name="connsiteX2" fmla="*/ 434340 w 457200"/>
              <a:gd name="connsiteY2" fmla="*/ 190500 h 1722120"/>
              <a:gd name="connsiteX3" fmla="*/ 15240 w 457200"/>
              <a:gd name="connsiteY3" fmla="*/ 0 h 1722120"/>
              <a:gd name="connsiteX4" fmla="*/ 0 w 457200"/>
              <a:gd name="connsiteY4" fmla="*/ 17780 h 1722120"/>
              <a:gd name="connsiteX5" fmla="*/ 0 w 457200"/>
              <a:gd name="connsiteY5" fmla="*/ 1663700 h 1722120"/>
              <a:gd name="connsiteX6" fmla="*/ 5080 w 457200"/>
              <a:gd name="connsiteY6" fmla="*/ 1691640 h 1722120"/>
              <a:gd name="connsiteX7" fmla="*/ 81280 w 457200"/>
              <a:gd name="connsiteY7" fmla="*/ 1722120 h 1722120"/>
              <a:gd name="connsiteX8" fmla="*/ 457200 w 457200"/>
              <a:gd name="connsiteY8" fmla="*/ 1661160 h 1722120"/>
              <a:gd name="connsiteX0" fmla="*/ 457200 w 574040"/>
              <a:gd name="connsiteY0" fmla="*/ 1661160 h 1722120"/>
              <a:gd name="connsiteX1" fmla="*/ 457200 w 574040"/>
              <a:gd name="connsiteY1" fmla="*/ 215900 h 1722120"/>
              <a:gd name="connsiteX2" fmla="*/ 574040 w 574040"/>
              <a:gd name="connsiteY2" fmla="*/ 144780 h 1722120"/>
              <a:gd name="connsiteX3" fmla="*/ 15240 w 574040"/>
              <a:gd name="connsiteY3" fmla="*/ 0 h 1722120"/>
              <a:gd name="connsiteX4" fmla="*/ 0 w 574040"/>
              <a:gd name="connsiteY4" fmla="*/ 17780 h 1722120"/>
              <a:gd name="connsiteX5" fmla="*/ 0 w 574040"/>
              <a:gd name="connsiteY5" fmla="*/ 1663700 h 1722120"/>
              <a:gd name="connsiteX6" fmla="*/ 5080 w 574040"/>
              <a:gd name="connsiteY6" fmla="*/ 1691640 h 1722120"/>
              <a:gd name="connsiteX7" fmla="*/ 81280 w 574040"/>
              <a:gd name="connsiteY7" fmla="*/ 1722120 h 1722120"/>
              <a:gd name="connsiteX8" fmla="*/ 457200 w 574040"/>
              <a:gd name="connsiteY8" fmla="*/ 1661160 h 1722120"/>
              <a:gd name="connsiteX0" fmla="*/ 457200 w 574040"/>
              <a:gd name="connsiteY0" fmla="*/ 1661160 h 1722120"/>
              <a:gd name="connsiteX1" fmla="*/ 574040 w 574040"/>
              <a:gd name="connsiteY1" fmla="*/ 144780 h 1722120"/>
              <a:gd name="connsiteX2" fmla="*/ 15240 w 574040"/>
              <a:gd name="connsiteY2" fmla="*/ 0 h 1722120"/>
              <a:gd name="connsiteX3" fmla="*/ 0 w 574040"/>
              <a:gd name="connsiteY3" fmla="*/ 17780 h 1722120"/>
              <a:gd name="connsiteX4" fmla="*/ 0 w 574040"/>
              <a:gd name="connsiteY4" fmla="*/ 1663700 h 1722120"/>
              <a:gd name="connsiteX5" fmla="*/ 5080 w 574040"/>
              <a:gd name="connsiteY5" fmla="*/ 1691640 h 1722120"/>
              <a:gd name="connsiteX6" fmla="*/ 81280 w 574040"/>
              <a:gd name="connsiteY6" fmla="*/ 1722120 h 1722120"/>
              <a:gd name="connsiteX7" fmla="*/ 457200 w 574040"/>
              <a:gd name="connsiteY7" fmla="*/ 1661160 h 1722120"/>
              <a:gd name="connsiteX0" fmla="*/ 558800 w 574040"/>
              <a:gd name="connsiteY0" fmla="*/ 1450340 h 1722120"/>
              <a:gd name="connsiteX1" fmla="*/ 574040 w 574040"/>
              <a:gd name="connsiteY1" fmla="*/ 144780 h 1722120"/>
              <a:gd name="connsiteX2" fmla="*/ 15240 w 574040"/>
              <a:gd name="connsiteY2" fmla="*/ 0 h 1722120"/>
              <a:gd name="connsiteX3" fmla="*/ 0 w 574040"/>
              <a:gd name="connsiteY3" fmla="*/ 17780 h 1722120"/>
              <a:gd name="connsiteX4" fmla="*/ 0 w 574040"/>
              <a:gd name="connsiteY4" fmla="*/ 1663700 h 1722120"/>
              <a:gd name="connsiteX5" fmla="*/ 5080 w 574040"/>
              <a:gd name="connsiteY5" fmla="*/ 1691640 h 1722120"/>
              <a:gd name="connsiteX6" fmla="*/ 81280 w 574040"/>
              <a:gd name="connsiteY6" fmla="*/ 1722120 h 1722120"/>
              <a:gd name="connsiteX7" fmla="*/ 558800 w 574040"/>
              <a:gd name="connsiteY7" fmla="*/ 1450340 h 1722120"/>
              <a:gd name="connsiteX0" fmla="*/ 558800 w 574040"/>
              <a:gd name="connsiteY0" fmla="*/ 1450340 h 1691640"/>
              <a:gd name="connsiteX1" fmla="*/ 574040 w 574040"/>
              <a:gd name="connsiteY1" fmla="*/ 144780 h 1691640"/>
              <a:gd name="connsiteX2" fmla="*/ 15240 w 574040"/>
              <a:gd name="connsiteY2" fmla="*/ 0 h 1691640"/>
              <a:gd name="connsiteX3" fmla="*/ 0 w 574040"/>
              <a:gd name="connsiteY3" fmla="*/ 17780 h 1691640"/>
              <a:gd name="connsiteX4" fmla="*/ 0 w 574040"/>
              <a:gd name="connsiteY4" fmla="*/ 1663700 h 1691640"/>
              <a:gd name="connsiteX5" fmla="*/ 5080 w 574040"/>
              <a:gd name="connsiteY5" fmla="*/ 1691640 h 1691640"/>
              <a:gd name="connsiteX6" fmla="*/ 187960 w 574040"/>
              <a:gd name="connsiteY6" fmla="*/ 1546860 h 1691640"/>
              <a:gd name="connsiteX7" fmla="*/ 558800 w 574040"/>
              <a:gd name="connsiteY7" fmla="*/ 1450340 h 1691640"/>
              <a:gd name="connsiteX0" fmla="*/ 558800 w 574040"/>
              <a:gd name="connsiteY0" fmla="*/ 1450340 h 1691640"/>
              <a:gd name="connsiteX1" fmla="*/ 574040 w 574040"/>
              <a:gd name="connsiteY1" fmla="*/ 144780 h 1691640"/>
              <a:gd name="connsiteX2" fmla="*/ 15240 w 574040"/>
              <a:gd name="connsiteY2" fmla="*/ 0 h 1691640"/>
              <a:gd name="connsiteX3" fmla="*/ 0 w 574040"/>
              <a:gd name="connsiteY3" fmla="*/ 17780 h 1691640"/>
              <a:gd name="connsiteX4" fmla="*/ 2540 w 574040"/>
              <a:gd name="connsiteY4" fmla="*/ 1478280 h 1691640"/>
              <a:gd name="connsiteX5" fmla="*/ 5080 w 574040"/>
              <a:gd name="connsiteY5" fmla="*/ 1691640 h 1691640"/>
              <a:gd name="connsiteX6" fmla="*/ 187960 w 574040"/>
              <a:gd name="connsiteY6" fmla="*/ 1546860 h 1691640"/>
              <a:gd name="connsiteX7" fmla="*/ 558800 w 574040"/>
              <a:gd name="connsiteY7" fmla="*/ 1450340 h 1691640"/>
              <a:gd name="connsiteX0" fmla="*/ 558800 w 574040"/>
              <a:gd name="connsiteY0" fmla="*/ 1450340 h 1546860"/>
              <a:gd name="connsiteX1" fmla="*/ 574040 w 574040"/>
              <a:gd name="connsiteY1" fmla="*/ 144780 h 1546860"/>
              <a:gd name="connsiteX2" fmla="*/ 15240 w 574040"/>
              <a:gd name="connsiteY2" fmla="*/ 0 h 1546860"/>
              <a:gd name="connsiteX3" fmla="*/ 0 w 574040"/>
              <a:gd name="connsiteY3" fmla="*/ 17780 h 1546860"/>
              <a:gd name="connsiteX4" fmla="*/ 2540 w 574040"/>
              <a:gd name="connsiteY4" fmla="*/ 1478280 h 1546860"/>
              <a:gd name="connsiteX5" fmla="*/ 10160 w 574040"/>
              <a:gd name="connsiteY5" fmla="*/ 1508760 h 1546860"/>
              <a:gd name="connsiteX6" fmla="*/ 187960 w 574040"/>
              <a:gd name="connsiteY6" fmla="*/ 1546860 h 1546860"/>
              <a:gd name="connsiteX7" fmla="*/ 558800 w 574040"/>
              <a:gd name="connsiteY7" fmla="*/ 1450340 h 1546860"/>
              <a:gd name="connsiteX0" fmla="*/ 558800 w 566420"/>
              <a:gd name="connsiteY0" fmla="*/ 1450340 h 1546860"/>
              <a:gd name="connsiteX1" fmla="*/ 566420 w 566420"/>
              <a:gd name="connsiteY1" fmla="*/ 144780 h 1546860"/>
              <a:gd name="connsiteX2" fmla="*/ 15240 w 566420"/>
              <a:gd name="connsiteY2" fmla="*/ 0 h 1546860"/>
              <a:gd name="connsiteX3" fmla="*/ 0 w 566420"/>
              <a:gd name="connsiteY3" fmla="*/ 17780 h 1546860"/>
              <a:gd name="connsiteX4" fmla="*/ 2540 w 566420"/>
              <a:gd name="connsiteY4" fmla="*/ 1478280 h 1546860"/>
              <a:gd name="connsiteX5" fmla="*/ 10160 w 566420"/>
              <a:gd name="connsiteY5" fmla="*/ 1508760 h 1546860"/>
              <a:gd name="connsiteX6" fmla="*/ 187960 w 566420"/>
              <a:gd name="connsiteY6" fmla="*/ 1546860 h 1546860"/>
              <a:gd name="connsiteX7" fmla="*/ 558800 w 566420"/>
              <a:gd name="connsiteY7" fmla="*/ 1450340 h 1546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6420" h="1546860">
                <a:moveTo>
                  <a:pt x="558800" y="1450340"/>
                </a:moveTo>
                <a:lnTo>
                  <a:pt x="566420" y="144780"/>
                </a:lnTo>
                <a:lnTo>
                  <a:pt x="15240" y="0"/>
                </a:lnTo>
                <a:lnTo>
                  <a:pt x="0" y="17780"/>
                </a:lnTo>
                <a:cubicBezTo>
                  <a:pt x="847" y="504613"/>
                  <a:pt x="1693" y="991447"/>
                  <a:pt x="2540" y="1478280"/>
                </a:cubicBezTo>
                <a:cubicBezTo>
                  <a:pt x="3387" y="1549400"/>
                  <a:pt x="9313" y="1437640"/>
                  <a:pt x="10160" y="1508760"/>
                </a:cubicBezTo>
                <a:lnTo>
                  <a:pt x="187960" y="1546860"/>
                </a:lnTo>
                <a:lnTo>
                  <a:pt x="558800" y="1450340"/>
                </a:lnTo>
                <a:close/>
              </a:path>
            </a:pathLst>
          </a:custGeom>
          <a:solidFill>
            <a:srgbClr val="B50130">
              <a:alpha val="6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ta: para a Direita 6">
            <a:extLst>
              <a:ext uri="{FF2B5EF4-FFF2-40B4-BE49-F238E27FC236}">
                <a16:creationId xmlns:a16="http://schemas.microsoft.com/office/drawing/2014/main" id="{A1D51926-3F77-4FB5-958E-CDF2D5A7D730}"/>
              </a:ext>
            </a:extLst>
          </p:cNvPr>
          <p:cNvSpPr/>
          <p:nvPr/>
        </p:nvSpPr>
        <p:spPr>
          <a:xfrm rot="571024">
            <a:off x="2526982" y="2081412"/>
            <a:ext cx="710419" cy="583809"/>
          </a:xfrm>
          <a:prstGeom prst="rightArrow">
            <a:avLst/>
          </a:prstGeom>
          <a:solidFill>
            <a:srgbClr val="B5013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3219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Uma imagem contendo balança&#10;&#10;Descrição gerada automaticamente">
            <a:extLst>
              <a:ext uri="{FF2B5EF4-FFF2-40B4-BE49-F238E27FC236}">
                <a16:creationId xmlns:a16="http://schemas.microsoft.com/office/drawing/2014/main" id="{B7845447-9CE6-4D15-9CF7-24BF9E91D04B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77484" y="434444"/>
            <a:ext cx="7789032" cy="4709055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</a:t>
            </a:fld>
            <a:r>
              <a:rPr lang="pt-PT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853766" y="1312586"/>
            <a:ext cx="221352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Com cuidado, pousar a base de assentamento nas vigas da cobertura.</a:t>
            </a:r>
          </a:p>
        </p:txBody>
      </p:sp>
    </p:spTree>
    <p:extLst>
      <p:ext uri="{BB962C8B-B14F-4D97-AF65-F5344CB8AC3E}">
        <p14:creationId xmlns:p14="http://schemas.microsoft.com/office/powerpoint/2010/main" val="2950064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Interface gráfica do usuário, Aplicativo&#10;&#10;Descrição gerada automaticamente">
            <a:extLst>
              <a:ext uri="{FF2B5EF4-FFF2-40B4-BE49-F238E27FC236}">
                <a16:creationId xmlns:a16="http://schemas.microsoft.com/office/drawing/2014/main" id="{DE3A4BA4-A9E9-4461-BCB2-35D93E1807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28483" y="1668183"/>
            <a:ext cx="1298118" cy="3099080"/>
          </a:xfrm>
          <a:prstGeom prst="rect">
            <a:avLst/>
          </a:prstGeom>
        </p:spPr>
      </p:pic>
      <p:pic>
        <p:nvPicPr>
          <p:cNvPr id="7" name="Imagem 6" descr="Desenho preto e branco&#10;&#10;Descrição gerada automaticamente com confiança baixa">
            <a:extLst>
              <a:ext uri="{FF2B5EF4-FFF2-40B4-BE49-F238E27FC236}">
                <a16:creationId xmlns:a16="http://schemas.microsoft.com/office/drawing/2014/main" id="{C183EA87-6CB0-48F0-8402-FC04C25EA0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73550" y="1668183"/>
            <a:ext cx="1365262" cy="3099080"/>
          </a:xfrm>
          <a:prstGeom prst="rect">
            <a:avLst/>
          </a:prstGeom>
        </p:spPr>
      </p:pic>
      <p:pic>
        <p:nvPicPr>
          <p:cNvPr id="9" name="Imagem 8" descr="Interface gráfica do usuário, Diagrama, Aplicativo&#10;&#10;Descrição gerada automaticamente">
            <a:extLst>
              <a:ext uri="{FF2B5EF4-FFF2-40B4-BE49-F238E27FC236}">
                <a16:creationId xmlns:a16="http://schemas.microsoft.com/office/drawing/2014/main" id="{73B4561A-AE2B-41FC-912F-560BD1DC7C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85759" y="1668183"/>
            <a:ext cx="1327258" cy="309908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CABLAGEM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0</a:t>
            </a:fld>
            <a:r>
              <a:rPr lang="pt-P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E678120-994E-45AB-B63C-D67E1AC4308D}"/>
              </a:ext>
            </a:extLst>
          </p:cNvPr>
          <p:cNvSpPr txBox="1"/>
          <p:nvPr/>
        </p:nvSpPr>
        <p:spPr>
          <a:xfrm>
            <a:off x="1885071" y="738684"/>
            <a:ext cx="537385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pt-PT" dirty="0"/>
              <a:t>Perfure a placa ao diâmetro dos bucins do cabo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pt-PT" dirty="0" err="1"/>
              <a:t>Mandatório</a:t>
            </a:r>
            <a:r>
              <a:rPr lang="pt-PT" dirty="0"/>
              <a:t> utilizar apenas um cabo por bucim de cabo.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pt-PT" dirty="0"/>
              <a:t>Coloque os bucins de cabo na placa.</a:t>
            </a:r>
          </a:p>
        </p:txBody>
      </p:sp>
      <p:sp>
        <p:nvSpPr>
          <p:cNvPr id="10" name="Seta: para a Direita 9">
            <a:extLst>
              <a:ext uri="{FF2B5EF4-FFF2-40B4-BE49-F238E27FC236}">
                <a16:creationId xmlns:a16="http://schemas.microsoft.com/office/drawing/2014/main" id="{6107C583-2237-4492-BF78-724022B1F132}"/>
              </a:ext>
            </a:extLst>
          </p:cNvPr>
          <p:cNvSpPr/>
          <p:nvPr/>
        </p:nvSpPr>
        <p:spPr>
          <a:xfrm>
            <a:off x="3076983" y="2862775"/>
            <a:ext cx="246185" cy="724487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Seta: para a Direita 14">
            <a:extLst>
              <a:ext uri="{FF2B5EF4-FFF2-40B4-BE49-F238E27FC236}">
                <a16:creationId xmlns:a16="http://schemas.microsoft.com/office/drawing/2014/main" id="{A1B2BDA2-9968-499F-B8E7-31CBCE70A7BD}"/>
              </a:ext>
            </a:extLst>
          </p:cNvPr>
          <p:cNvSpPr/>
          <p:nvPr/>
        </p:nvSpPr>
        <p:spPr>
          <a:xfrm>
            <a:off x="5789193" y="2862775"/>
            <a:ext cx="246185" cy="724487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B50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2E32D7A3-4D36-4264-90DF-715809759A73}"/>
              </a:ext>
            </a:extLst>
          </p:cNvPr>
          <p:cNvSpPr txBox="1"/>
          <p:nvPr/>
        </p:nvSpPr>
        <p:spPr>
          <a:xfrm>
            <a:off x="5416550" y="1929109"/>
            <a:ext cx="110436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pt-PT" sz="1100" dirty="0">
                <a:solidFill>
                  <a:schemeClr val="bg1">
                    <a:lumMod val="50000"/>
                  </a:schemeClr>
                </a:solidFill>
              </a:rPr>
              <a:t>CABO DE ALIMENTAÇÃO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AF29391F-1AC4-4486-9F1E-2B34B061D4C3}"/>
              </a:ext>
            </a:extLst>
          </p:cNvPr>
          <p:cNvSpPr txBox="1"/>
          <p:nvPr/>
        </p:nvSpPr>
        <p:spPr>
          <a:xfrm>
            <a:off x="5193656" y="4336376"/>
            <a:ext cx="132725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pt-PT" sz="1100">
                <a:solidFill>
                  <a:schemeClr val="bg1">
                    <a:lumMod val="50000"/>
                  </a:schemeClr>
                </a:solidFill>
              </a:rPr>
              <a:t>CABO DE COMUNICAÇÃO</a:t>
            </a:r>
          </a:p>
        </p:txBody>
      </p:sp>
      <p:cxnSp>
        <p:nvCxnSpPr>
          <p:cNvPr id="21" name="Conector: Angulado 20">
            <a:extLst>
              <a:ext uri="{FF2B5EF4-FFF2-40B4-BE49-F238E27FC236}">
                <a16:creationId xmlns:a16="http://schemas.microsoft.com/office/drawing/2014/main" id="{788D8791-72F5-4B66-8064-64F4096A3909}"/>
              </a:ext>
            </a:extLst>
          </p:cNvPr>
          <p:cNvCxnSpPr>
            <a:cxnSpLocks/>
            <a:stCxn id="19" idx="3"/>
          </p:cNvCxnSpPr>
          <p:nvPr/>
        </p:nvCxnSpPr>
        <p:spPr>
          <a:xfrm>
            <a:off x="6520914" y="2144553"/>
            <a:ext cx="463696" cy="999498"/>
          </a:xfrm>
          <a:prstGeom prst="bentConnector2">
            <a:avLst/>
          </a:prstGeom>
          <a:ln w="12700">
            <a:solidFill>
              <a:srgbClr val="B5013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: Angulado 21">
            <a:extLst>
              <a:ext uri="{FF2B5EF4-FFF2-40B4-BE49-F238E27FC236}">
                <a16:creationId xmlns:a16="http://schemas.microsoft.com/office/drawing/2014/main" id="{8A572A91-7E42-4EB0-9B4A-772BCAD492B9}"/>
              </a:ext>
            </a:extLst>
          </p:cNvPr>
          <p:cNvCxnSpPr>
            <a:cxnSpLocks/>
            <a:endCxn id="20" idx="3"/>
          </p:cNvCxnSpPr>
          <p:nvPr/>
        </p:nvCxnSpPr>
        <p:spPr>
          <a:xfrm rot="5400000">
            <a:off x="6437663" y="4004872"/>
            <a:ext cx="630199" cy="463696"/>
          </a:xfrm>
          <a:prstGeom prst="bentConnector2">
            <a:avLst/>
          </a:prstGeom>
          <a:ln w="12700">
            <a:solidFill>
              <a:srgbClr val="B5013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5546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CABLAGEM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1</a:t>
            </a:fld>
            <a:r>
              <a:rPr lang="pt-PT"/>
              <a:t> |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E678120-994E-45AB-B63C-D67E1AC4308D}"/>
              </a:ext>
            </a:extLst>
          </p:cNvPr>
          <p:cNvSpPr txBox="1"/>
          <p:nvPr/>
        </p:nvSpPr>
        <p:spPr>
          <a:xfrm>
            <a:off x="3001967" y="766820"/>
            <a:ext cx="31400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t-PT"/>
              <a:t>Passe ambos os cabos pelos bucins e reposicione a placa.</a:t>
            </a:r>
          </a:p>
        </p:txBody>
      </p:sp>
      <p:pic>
        <p:nvPicPr>
          <p:cNvPr id="7" name="Imagem 6" descr="Diagrama&#10;&#10;Descrição gerada automaticamente com confiança baixa">
            <a:extLst>
              <a:ext uri="{FF2B5EF4-FFF2-40B4-BE49-F238E27FC236}">
                <a16:creationId xmlns:a16="http://schemas.microsoft.com/office/drawing/2014/main" id="{9629C797-52F8-4C62-AE62-5659E523DFD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445" t="3275" r="3883" b="9326"/>
          <a:stretch/>
        </p:blipFill>
        <p:spPr>
          <a:xfrm>
            <a:off x="161933" y="1475580"/>
            <a:ext cx="4329100" cy="288543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10" name="Imagem 9" descr="Imagem de vídeo game&#10;&#10;Descrição gerada automaticamente com confiança baixa">
            <a:extLst>
              <a:ext uri="{FF2B5EF4-FFF2-40B4-BE49-F238E27FC236}">
                <a16:creationId xmlns:a16="http://schemas.microsoft.com/office/drawing/2014/main" id="{8840B040-901F-4CFC-ACEA-4AA530CD021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312" t="3473" r="3735" b="9500"/>
          <a:stretch/>
        </p:blipFill>
        <p:spPr>
          <a:xfrm>
            <a:off x="4652966" y="1475580"/>
            <a:ext cx="4329100" cy="288543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</p:spTree>
    <p:extLst>
      <p:ext uri="{BB962C8B-B14F-4D97-AF65-F5344CB8AC3E}">
        <p14:creationId xmlns:p14="http://schemas.microsoft.com/office/powerpoint/2010/main" val="2910438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Texto&#10;&#10;Descrição gerada automaticamente">
            <a:extLst>
              <a:ext uri="{FF2B5EF4-FFF2-40B4-BE49-F238E27FC236}">
                <a16:creationId xmlns:a16="http://schemas.microsoft.com/office/drawing/2014/main" id="{BCB82EBE-42C5-4AEC-B542-8425A889E86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580" t="10202" b="20535"/>
          <a:stretch/>
        </p:blipFill>
        <p:spPr>
          <a:xfrm>
            <a:off x="2605439" y="809287"/>
            <a:ext cx="6356385" cy="3739193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CABLAGEM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2</a:t>
            </a:fld>
            <a:r>
              <a:rPr lang="pt-PT"/>
              <a:t> |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9BF38392-AC0B-468E-80E7-366A161E169A}"/>
              </a:ext>
            </a:extLst>
          </p:cNvPr>
          <p:cNvSpPr txBox="1"/>
          <p:nvPr/>
        </p:nvSpPr>
        <p:spPr>
          <a:xfrm>
            <a:off x="813927" y="809287"/>
            <a:ext cx="5345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2FC00854-FF1B-4507-B21B-B000E341A155}"/>
              </a:ext>
            </a:extLst>
          </p:cNvPr>
          <p:cNvSpPr txBox="1"/>
          <p:nvPr/>
        </p:nvSpPr>
        <p:spPr>
          <a:xfrm>
            <a:off x="813927" y="2938365"/>
            <a:ext cx="5345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7FB15A91-CB4A-4C20-92AF-79318B934BFE}"/>
              </a:ext>
            </a:extLst>
          </p:cNvPr>
          <p:cNvSpPr txBox="1"/>
          <p:nvPr/>
        </p:nvSpPr>
        <p:spPr>
          <a:xfrm>
            <a:off x="182176" y="2201830"/>
            <a:ext cx="225075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t-PT"/>
              <a:t>Detalhe dos cabos oriundos da base de assentamento passando pela placa.</a:t>
            </a:r>
          </a:p>
        </p:txBody>
      </p:sp>
    </p:spTree>
    <p:extLst>
      <p:ext uri="{BB962C8B-B14F-4D97-AF65-F5344CB8AC3E}">
        <p14:creationId xmlns:p14="http://schemas.microsoft.com/office/powerpoint/2010/main" val="80918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CABLAGEM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3</a:t>
            </a:fld>
            <a:r>
              <a:rPr lang="pt-PT"/>
              <a:t> |</a:t>
            </a:r>
          </a:p>
        </p:txBody>
      </p:sp>
      <p:pic>
        <p:nvPicPr>
          <p:cNvPr id="10" name="Imagem 9" descr="Tela de computador com texto preto sobre fundo branco&#10;&#10;Descrição gerada automaticamente com confiança média">
            <a:extLst>
              <a:ext uri="{FF2B5EF4-FFF2-40B4-BE49-F238E27FC236}">
                <a16:creationId xmlns:a16="http://schemas.microsoft.com/office/drawing/2014/main" id="{CDFCB6E1-E65D-428D-BE6B-1546FB088CC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822" b="17505"/>
          <a:stretch/>
        </p:blipFill>
        <p:spPr>
          <a:xfrm>
            <a:off x="2968452" y="822960"/>
            <a:ext cx="5971532" cy="3825139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12E86588-BCB6-481C-AB88-84C7C6907A45}"/>
              </a:ext>
            </a:extLst>
          </p:cNvPr>
          <p:cNvSpPr txBox="1"/>
          <p:nvPr/>
        </p:nvSpPr>
        <p:spPr>
          <a:xfrm>
            <a:off x="204017" y="1101042"/>
            <a:ext cx="256041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t-PT" dirty="0"/>
              <a:t>Puxe o </a:t>
            </a:r>
            <a:r>
              <a:rPr lang="pt-PT" dirty="0">
                <a:solidFill>
                  <a:srgbClr val="B50130"/>
                </a:solidFill>
              </a:rPr>
              <a:t>cabo de comunicação</a:t>
            </a:r>
            <a:r>
              <a:rPr lang="pt-PT" dirty="0"/>
              <a:t> pelo bucim de cabo para o quadro de comando da </a:t>
            </a:r>
            <a:r>
              <a:rPr lang="pt-PT" dirty="0" err="1"/>
              <a:t>Rooftop</a:t>
            </a:r>
            <a:r>
              <a:rPr lang="pt-PT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6996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CABLAGEM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4</a:t>
            </a:fld>
            <a:r>
              <a:rPr lang="pt-PT"/>
              <a:t> |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12E86588-BCB6-481C-AB88-84C7C6907A45}"/>
              </a:ext>
            </a:extLst>
          </p:cNvPr>
          <p:cNvSpPr txBox="1"/>
          <p:nvPr/>
        </p:nvSpPr>
        <p:spPr>
          <a:xfrm>
            <a:off x="92290" y="1183440"/>
            <a:ext cx="299838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t-PT" dirty="0"/>
              <a:t>No quadro de comando, ligue o </a:t>
            </a:r>
            <a:r>
              <a:rPr lang="pt-PT" dirty="0">
                <a:solidFill>
                  <a:srgbClr val="B50130"/>
                </a:solidFill>
              </a:rPr>
              <a:t>cabo de comunicação </a:t>
            </a:r>
            <a:r>
              <a:rPr lang="pt-PT" dirty="0"/>
              <a:t>ao controlo </a:t>
            </a:r>
            <a:r>
              <a:rPr lang="pt-PT" dirty="0">
                <a:solidFill>
                  <a:srgbClr val="B50130"/>
                </a:solidFill>
              </a:rPr>
              <a:t>eCLIMATIC</a:t>
            </a:r>
            <a:r>
              <a:rPr lang="pt-PT" dirty="0"/>
              <a:t>.</a:t>
            </a:r>
          </a:p>
        </p:txBody>
      </p:sp>
      <p:pic>
        <p:nvPicPr>
          <p:cNvPr id="5" name="Imagem 4" descr="Diagrama&#10;&#10;Descrição gerada automaticamente">
            <a:extLst>
              <a:ext uri="{FF2B5EF4-FFF2-40B4-BE49-F238E27FC236}">
                <a16:creationId xmlns:a16="http://schemas.microsoft.com/office/drawing/2014/main" id="{83B54520-D052-4B18-AAA6-12169E438B6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94" t="9087" b="7314"/>
          <a:stretch/>
        </p:blipFill>
        <p:spPr>
          <a:xfrm>
            <a:off x="3182965" y="715447"/>
            <a:ext cx="5868746" cy="4299903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6" name="Imagem 5" descr="Interface gráfica do usuário&#10;&#10;Descrição gerada automaticamente com confiança média">
            <a:extLst>
              <a:ext uri="{FF2B5EF4-FFF2-40B4-BE49-F238E27FC236}">
                <a16:creationId xmlns:a16="http://schemas.microsoft.com/office/drawing/2014/main" id="{71B65953-4E87-4940-B21D-866B8FA700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418" y="2051288"/>
            <a:ext cx="2904128" cy="1748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845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Diagrama&#10;&#10;Descrição gerada automaticamente">
            <a:extLst>
              <a:ext uri="{FF2B5EF4-FFF2-40B4-BE49-F238E27FC236}">
                <a16:creationId xmlns:a16="http://schemas.microsoft.com/office/drawing/2014/main" id="{FB25A091-3F42-4697-BD9C-A45A212C12C0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C3C3C3"/>
              </a:clrFrom>
              <a:clrTo>
                <a:srgbClr val="C3C3C3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82154" y="1696608"/>
            <a:ext cx="8025618" cy="3051386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CABLAGEM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5</a:t>
            </a:fld>
            <a:r>
              <a:rPr lang="pt-PT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6BEC3782-C02B-4A21-82EC-E41E383B1255}"/>
              </a:ext>
            </a:extLst>
          </p:cNvPr>
          <p:cNvSpPr txBox="1"/>
          <p:nvPr/>
        </p:nvSpPr>
        <p:spPr>
          <a:xfrm>
            <a:off x="4176040" y="816326"/>
            <a:ext cx="2479253" cy="523220"/>
          </a:xfrm>
          <a:prstGeom prst="rect">
            <a:avLst/>
          </a:prstGeom>
          <a:noFill/>
          <a:ln w="12700">
            <a:solidFill>
              <a:srgbClr val="B50130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pt-PT" dirty="0">
                <a:solidFill>
                  <a:srgbClr val="B50130"/>
                </a:solidFill>
              </a:rPr>
              <a:t>Porta J14 </a:t>
            </a:r>
            <a:r>
              <a:rPr lang="pt-PT" dirty="0"/>
              <a:t>para comunicação </a:t>
            </a:r>
            <a:r>
              <a:rPr lang="pt-PT" dirty="0">
                <a:solidFill>
                  <a:srgbClr val="B50130"/>
                </a:solidFill>
              </a:rPr>
              <a:t>master-slave</a:t>
            </a:r>
            <a:r>
              <a:rPr lang="pt-PT" dirty="0"/>
              <a:t> entre unidades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040862C4-FAB2-410E-BAD4-498E913411EF}"/>
              </a:ext>
            </a:extLst>
          </p:cNvPr>
          <p:cNvSpPr/>
          <p:nvPr/>
        </p:nvSpPr>
        <p:spPr>
          <a:xfrm>
            <a:off x="3516713" y="1696608"/>
            <a:ext cx="437665" cy="1079170"/>
          </a:xfrm>
          <a:prstGeom prst="rect">
            <a:avLst/>
          </a:prstGeom>
          <a:solidFill>
            <a:srgbClr val="B50130">
              <a:alpha val="30000"/>
            </a:srgbClr>
          </a:solidFill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5" name="Conector: Angulado 14">
            <a:extLst>
              <a:ext uri="{FF2B5EF4-FFF2-40B4-BE49-F238E27FC236}">
                <a16:creationId xmlns:a16="http://schemas.microsoft.com/office/drawing/2014/main" id="{28B9A284-0382-4735-AE33-4F9C57762FFD}"/>
              </a:ext>
            </a:extLst>
          </p:cNvPr>
          <p:cNvCxnSpPr>
            <a:cxnSpLocks/>
            <a:stCxn id="12" idx="1"/>
            <a:endCxn id="16" idx="0"/>
          </p:cNvCxnSpPr>
          <p:nvPr/>
        </p:nvCxnSpPr>
        <p:spPr>
          <a:xfrm rot="10800000" flipV="1">
            <a:off x="3735546" y="1077936"/>
            <a:ext cx="440494" cy="618672"/>
          </a:xfrm>
          <a:prstGeom prst="bentConnector2">
            <a:avLst/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7" name="Retângulo 26">
            <a:extLst>
              <a:ext uri="{FF2B5EF4-FFF2-40B4-BE49-F238E27FC236}">
                <a16:creationId xmlns:a16="http://schemas.microsoft.com/office/drawing/2014/main" id="{09C1BB7E-F38D-4DFB-A727-8EAE00B35EFD}"/>
              </a:ext>
            </a:extLst>
          </p:cNvPr>
          <p:cNvSpPr/>
          <p:nvPr/>
        </p:nvSpPr>
        <p:spPr>
          <a:xfrm>
            <a:off x="1398262" y="2788047"/>
            <a:ext cx="1417433" cy="133905"/>
          </a:xfrm>
          <a:prstGeom prst="rect">
            <a:avLst/>
          </a:prstGeom>
          <a:solidFill>
            <a:srgbClr val="B50130">
              <a:alpha val="30000"/>
            </a:srgbClr>
          </a:solidFill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E013E888-9843-4E47-9E1A-791E50FA1435}"/>
              </a:ext>
            </a:extLst>
          </p:cNvPr>
          <p:cNvSpPr txBox="1"/>
          <p:nvPr/>
        </p:nvSpPr>
        <p:spPr>
          <a:xfrm>
            <a:off x="531634" y="816326"/>
            <a:ext cx="2791265" cy="738664"/>
          </a:xfrm>
          <a:prstGeom prst="rect">
            <a:avLst/>
          </a:prstGeom>
          <a:noFill/>
          <a:ln w="12700">
            <a:solidFill>
              <a:srgbClr val="B50130"/>
            </a:solidFill>
          </a:ln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pt-PT">
                <a:solidFill>
                  <a:srgbClr val="B50130"/>
                </a:solidFill>
              </a:rPr>
              <a:t>Ligação do cartão BMS </a:t>
            </a:r>
            <a:r>
              <a:rPr lang="pt-PT"/>
              <a:t>para o sistema de automação do edifício (LonWorks / BacNet / ModBus).</a:t>
            </a:r>
          </a:p>
        </p:txBody>
      </p:sp>
      <p:cxnSp>
        <p:nvCxnSpPr>
          <p:cNvPr id="31" name="Conector: Angulado 30">
            <a:extLst>
              <a:ext uri="{FF2B5EF4-FFF2-40B4-BE49-F238E27FC236}">
                <a16:creationId xmlns:a16="http://schemas.microsoft.com/office/drawing/2014/main" id="{908D500B-65A1-4680-BF6D-F3367936ED77}"/>
              </a:ext>
            </a:extLst>
          </p:cNvPr>
          <p:cNvCxnSpPr>
            <a:cxnSpLocks/>
            <a:stCxn id="30" idx="1"/>
            <a:endCxn id="27" idx="1"/>
          </p:cNvCxnSpPr>
          <p:nvPr/>
        </p:nvCxnSpPr>
        <p:spPr>
          <a:xfrm rot="10800000" flipH="1" flipV="1">
            <a:off x="531634" y="1185658"/>
            <a:ext cx="866628" cy="1669342"/>
          </a:xfrm>
          <a:prstGeom prst="bentConnector3">
            <a:avLst>
              <a:gd name="adj1" fmla="val -26378"/>
            </a:avLst>
          </a:prstGeom>
          <a:noFill/>
          <a:ln w="12700">
            <a:solidFill>
              <a:srgbClr val="B5013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97300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Uma imagem contendo Diagrama&#10;&#10;Descrição gerada automaticamente">
            <a:extLst>
              <a:ext uri="{FF2B5EF4-FFF2-40B4-BE49-F238E27FC236}">
                <a16:creationId xmlns:a16="http://schemas.microsoft.com/office/drawing/2014/main" id="{B233BC35-35CD-4358-9484-61BB6F0A172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539" b="15826"/>
          <a:stretch/>
        </p:blipFill>
        <p:spPr>
          <a:xfrm>
            <a:off x="128289" y="1631155"/>
            <a:ext cx="4379567" cy="306991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pic>
        <p:nvPicPr>
          <p:cNvPr id="7" name="Imagem 6" descr="Diagrama&#10;&#10;Descrição gerada automaticamente com confiança média">
            <a:extLst>
              <a:ext uri="{FF2B5EF4-FFF2-40B4-BE49-F238E27FC236}">
                <a16:creationId xmlns:a16="http://schemas.microsoft.com/office/drawing/2014/main" id="{612C613E-4AAB-46A9-A71A-ECBC6D36CCE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355" b="17444"/>
          <a:stretch/>
        </p:blipFill>
        <p:spPr>
          <a:xfrm>
            <a:off x="4636145" y="1631155"/>
            <a:ext cx="4379567" cy="306991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CABLAGEM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6</a:t>
            </a:fld>
            <a:r>
              <a:rPr lang="pt-PT"/>
              <a:t> |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12E86588-BCB6-481C-AB88-84C7C6907A45}"/>
              </a:ext>
            </a:extLst>
          </p:cNvPr>
          <p:cNvSpPr txBox="1"/>
          <p:nvPr/>
        </p:nvSpPr>
        <p:spPr>
          <a:xfrm>
            <a:off x="128288" y="961198"/>
            <a:ext cx="43795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t-PT" dirty="0"/>
              <a:t>Separe os fios internos do </a:t>
            </a:r>
            <a:r>
              <a:rPr lang="pt-PT" dirty="0">
                <a:solidFill>
                  <a:srgbClr val="B50130"/>
                </a:solidFill>
              </a:rPr>
              <a:t>cabo de alimentação</a:t>
            </a:r>
            <a:r>
              <a:rPr lang="pt-PT" dirty="0"/>
              <a:t> e puxe-os através dos transformadores de intensidade.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EE7C915D-9C51-45E8-B02E-09DDBF8D32EE}"/>
              </a:ext>
            </a:extLst>
          </p:cNvPr>
          <p:cNvSpPr txBox="1"/>
          <p:nvPr/>
        </p:nvSpPr>
        <p:spPr>
          <a:xfrm>
            <a:off x="4636145" y="929718"/>
            <a:ext cx="43795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t-PT" dirty="0"/>
              <a:t>Puxe os 3 </a:t>
            </a:r>
            <a:r>
              <a:rPr lang="pt-PT" dirty="0">
                <a:solidFill>
                  <a:srgbClr val="B50130"/>
                </a:solidFill>
              </a:rPr>
              <a:t>fios de alimentação</a:t>
            </a:r>
            <a:r>
              <a:rPr lang="pt-PT" dirty="0"/>
              <a:t> pelo bucim de cabo oblongo para o quadro de comando da </a:t>
            </a:r>
            <a:r>
              <a:rPr lang="pt-PT" dirty="0" err="1"/>
              <a:t>Rooftop</a:t>
            </a:r>
            <a:r>
              <a:rPr lang="pt-PT" dirty="0"/>
              <a:t>.</a:t>
            </a:r>
          </a:p>
        </p:txBody>
      </p:sp>
      <p:sp>
        <p:nvSpPr>
          <p:cNvPr id="19" name="Seta: para a Direita 18">
            <a:extLst>
              <a:ext uri="{FF2B5EF4-FFF2-40B4-BE49-F238E27FC236}">
                <a16:creationId xmlns:a16="http://schemas.microsoft.com/office/drawing/2014/main" id="{DE389DA2-2647-43E9-9C60-73B7419AFB29}"/>
              </a:ext>
            </a:extLst>
          </p:cNvPr>
          <p:cNvSpPr/>
          <p:nvPr/>
        </p:nvSpPr>
        <p:spPr>
          <a:xfrm rot="12391421">
            <a:off x="2056259" y="2539227"/>
            <a:ext cx="710419" cy="583809"/>
          </a:xfrm>
          <a:prstGeom prst="rightArrow">
            <a:avLst/>
          </a:prstGeom>
          <a:solidFill>
            <a:srgbClr val="B5013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Seta: para a Direita 19">
            <a:extLst>
              <a:ext uri="{FF2B5EF4-FFF2-40B4-BE49-F238E27FC236}">
                <a16:creationId xmlns:a16="http://schemas.microsoft.com/office/drawing/2014/main" id="{7DA7AA31-7CF8-4E37-BF05-3E39536639EE}"/>
              </a:ext>
            </a:extLst>
          </p:cNvPr>
          <p:cNvSpPr/>
          <p:nvPr/>
        </p:nvSpPr>
        <p:spPr>
          <a:xfrm rot="12196253">
            <a:off x="5772133" y="3560840"/>
            <a:ext cx="710419" cy="583809"/>
          </a:xfrm>
          <a:prstGeom prst="rightArrow">
            <a:avLst/>
          </a:prstGeom>
          <a:solidFill>
            <a:srgbClr val="B5013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7255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ADFCA0FF-9205-4C80-912B-722190D21C4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82" t="9851" r="2426" b="2545"/>
          <a:stretch/>
        </p:blipFill>
        <p:spPr>
          <a:xfrm>
            <a:off x="3916679" y="870586"/>
            <a:ext cx="4983481" cy="386334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0" name="Retângulo 9">
            <a:extLst>
              <a:ext uri="{FF2B5EF4-FFF2-40B4-BE49-F238E27FC236}">
                <a16:creationId xmlns:a16="http://schemas.microsoft.com/office/drawing/2014/main" id="{0985349D-A1C8-4553-82DE-CD9A1030E6F9}"/>
              </a:ext>
            </a:extLst>
          </p:cNvPr>
          <p:cNvSpPr/>
          <p:nvPr/>
        </p:nvSpPr>
        <p:spPr>
          <a:xfrm>
            <a:off x="3916679" y="870586"/>
            <a:ext cx="4983481" cy="3863340"/>
          </a:xfrm>
          <a:prstGeom prst="rect">
            <a:avLst/>
          </a:prstGeom>
          <a:solidFill>
            <a:schemeClr val="bg1">
              <a:alpha val="80000"/>
            </a:schemeClr>
          </a:solidFill>
          <a:ln w="12700">
            <a:solidFill>
              <a:srgbClr val="B501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Imagem 5" descr="Uma imagem contendo Logotipo&#10;&#10;Descrição gerada automaticamente">
            <a:extLst>
              <a:ext uri="{FF2B5EF4-FFF2-40B4-BE49-F238E27FC236}">
                <a16:creationId xmlns:a16="http://schemas.microsoft.com/office/drawing/2014/main" id="{3ACCA9F5-2DF0-4C45-A656-D5E573F6CCC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580" t="9851" r="2427" b="2544"/>
          <a:stretch/>
        </p:blipFill>
        <p:spPr>
          <a:xfrm>
            <a:off x="3916679" y="870586"/>
            <a:ext cx="4983481" cy="3863340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 dirty="0"/>
              <a:t>INSTALAÇÃO DA CABLAGEM DA UNIDADE </a:t>
            </a:r>
            <a:r>
              <a:rPr lang="pt-PT" dirty="0" err="1"/>
              <a:t>Rooftop</a:t>
            </a:r>
            <a:endParaRPr lang="pt-PT" dirty="0"/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7</a:t>
            </a:fld>
            <a:r>
              <a:rPr lang="pt-PT"/>
              <a:t> |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12E86588-BCB6-481C-AB88-84C7C6907A45}"/>
              </a:ext>
            </a:extLst>
          </p:cNvPr>
          <p:cNvSpPr txBox="1"/>
          <p:nvPr/>
        </p:nvSpPr>
        <p:spPr>
          <a:xfrm>
            <a:off x="243840" y="1390797"/>
            <a:ext cx="3429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ctr">
              <a:spcAft>
                <a:spcPts val="600"/>
              </a:spcAft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pt-PT" dirty="0"/>
              <a:t>Ligue os 3 </a:t>
            </a:r>
            <a:r>
              <a:rPr lang="pt-PT" dirty="0">
                <a:solidFill>
                  <a:srgbClr val="B50130"/>
                </a:solidFill>
              </a:rPr>
              <a:t>fios de alimentação</a:t>
            </a:r>
            <a:r>
              <a:rPr lang="pt-PT" dirty="0"/>
              <a:t> ao interruptor de corte do quadro elétrico.</a:t>
            </a:r>
          </a:p>
        </p:txBody>
      </p:sp>
      <p:sp>
        <p:nvSpPr>
          <p:cNvPr id="22" name="Seta: para a Direita 21">
            <a:extLst>
              <a:ext uri="{FF2B5EF4-FFF2-40B4-BE49-F238E27FC236}">
                <a16:creationId xmlns:a16="http://schemas.microsoft.com/office/drawing/2014/main" id="{BA3B7818-4B9D-4137-8714-D03BCEF67FA4}"/>
              </a:ext>
            </a:extLst>
          </p:cNvPr>
          <p:cNvSpPr/>
          <p:nvPr/>
        </p:nvSpPr>
        <p:spPr>
          <a:xfrm rot="12856287">
            <a:off x="6757996" y="2951599"/>
            <a:ext cx="710419" cy="583809"/>
          </a:xfrm>
          <a:prstGeom prst="rightArrow">
            <a:avLst/>
          </a:prstGeom>
          <a:solidFill>
            <a:srgbClr val="B5013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1112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334509"/>
            <a:ext cx="8636876" cy="1371600"/>
          </a:xfrm>
        </p:spPr>
        <p:txBody>
          <a:bodyPr/>
          <a:lstStyle/>
          <a:p>
            <a:pPr>
              <a:spcAft>
                <a:spcPts val="1800"/>
              </a:spcAft>
            </a:pPr>
            <a:br>
              <a:rPr lang="pt-PT" sz="1200" b="1"/>
            </a:br>
            <a:br>
              <a:rPr lang="pt-PT" sz="1200" b="1"/>
            </a:br>
            <a:br>
              <a:rPr lang="pt-PT" sz="1200" b="1"/>
            </a:br>
            <a:br>
              <a:rPr lang="pt-PT" sz="1200" b="1"/>
            </a:br>
            <a:r>
              <a:rPr lang="pt-PT" sz="4800" b="1"/>
              <a:t>e-Baltic</a:t>
            </a:r>
            <a:br>
              <a:rPr lang="pt-PT" sz="4000" b="1"/>
            </a:br>
            <a:r>
              <a:rPr lang="pt-PT" b="1"/>
              <a:t>Instalação de condutas</a:t>
            </a:r>
          </a:p>
        </p:txBody>
      </p:sp>
    </p:spTree>
    <p:extLst>
      <p:ext uri="{BB962C8B-B14F-4D97-AF65-F5344CB8AC3E}">
        <p14:creationId xmlns:p14="http://schemas.microsoft.com/office/powerpoint/2010/main" val="654821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Diagrama&#10;&#10;Descrição gerada automaticamente">
            <a:extLst>
              <a:ext uri="{FF2B5EF4-FFF2-40B4-BE49-F238E27FC236}">
                <a16:creationId xmlns:a16="http://schemas.microsoft.com/office/drawing/2014/main" id="{C15A3FA6-D351-4F35-B877-C449366FB9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6820" y="715448"/>
            <a:ext cx="3146019" cy="4332396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E CONDUTAS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59</a:t>
            </a:fld>
            <a:r>
              <a:rPr lang="pt-PT"/>
              <a:t> |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6DF65ABA-BC08-4CA7-8654-A81A8952D103}"/>
              </a:ext>
            </a:extLst>
          </p:cNvPr>
          <p:cNvSpPr txBox="1"/>
          <p:nvPr/>
        </p:nvSpPr>
        <p:spPr>
          <a:xfrm>
            <a:off x="2729158" y="4105950"/>
            <a:ext cx="1216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PT" sz="1400">
                <a:solidFill>
                  <a:srgbClr val="B50130"/>
                </a:solidFill>
              </a:rPr>
              <a:t>CONDUTA DE INSUFLAÇÃO</a:t>
            </a: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43F36B20-3488-476F-B208-66223AEE3E86}"/>
              </a:ext>
            </a:extLst>
          </p:cNvPr>
          <p:cNvGrpSpPr/>
          <p:nvPr/>
        </p:nvGrpSpPr>
        <p:grpSpPr>
          <a:xfrm>
            <a:off x="179521" y="1256005"/>
            <a:ext cx="2447778" cy="3062377"/>
            <a:chOff x="274320" y="1256005"/>
            <a:chExt cx="2447778" cy="3062377"/>
          </a:xfrm>
        </p:grpSpPr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1EC3C266-15B6-4976-9204-A96E47CF13A1}"/>
                </a:ext>
              </a:extLst>
            </p:cNvPr>
            <p:cNvSpPr txBox="1"/>
            <p:nvPr/>
          </p:nvSpPr>
          <p:spPr>
            <a:xfrm>
              <a:off x="274320" y="1256005"/>
              <a:ext cx="2447778" cy="30623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pt-PT" sz="1400" dirty="0">
                  <a:solidFill>
                    <a:schemeClr val="bg1">
                      <a:lumMod val="50000"/>
                    </a:schemeClr>
                  </a:solidFill>
                </a:rPr>
                <a:t>Instale as condutas de ar nas portas de insuflação e retorno da base de assentamento.</a:t>
              </a: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r>
                <a:rPr lang="pt-PT" sz="1400" dirty="0">
                  <a:solidFill>
                    <a:srgbClr val="B50130"/>
                  </a:solidFill>
                </a:rPr>
                <a:t>Certifique-se de que as condutas são instaladas na BASE DE ASSENTAMENTO e não nas vigas da cobertura.</a:t>
              </a:r>
            </a:p>
          </p:txBody>
        </p:sp>
        <p:pic>
          <p:nvPicPr>
            <p:cNvPr id="12" name="Gráfico 11" descr="Aviso com preenchimento sólido">
              <a:extLst>
                <a:ext uri="{FF2B5EF4-FFF2-40B4-BE49-F238E27FC236}">
                  <a16:creationId xmlns:a16="http://schemas.microsoft.com/office/drawing/2014/main" id="{F65B1601-C215-4E87-BC9A-E57E0CFBF67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247879" y="2632550"/>
              <a:ext cx="500660" cy="500660"/>
            </a:xfrm>
            <a:prstGeom prst="rect">
              <a:avLst/>
            </a:prstGeom>
          </p:spPr>
        </p:pic>
      </p:grpSp>
      <p:pic>
        <p:nvPicPr>
          <p:cNvPr id="14" name="Imagem 13" descr="Diagrama&#10;&#10;Descrição gerada automaticamente">
            <a:extLst>
              <a:ext uri="{FF2B5EF4-FFF2-40B4-BE49-F238E27FC236}">
                <a16:creationId xmlns:a16="http://schemas.microsoft.com/office/drawing/2014/main" id="{5368D06A-F42E-4531-B5B6-A423E293D82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599" t="29886" r="21378" b="34210"/>
          <a:stretch/>
        </p:blipFill>
        <p:spPr>
          <a:xfrm>
            <a:off x="6132360" y="1382094"/>
            <a:ext cx="2832118" cy="2977982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3" name="Retângulo 12">
            <a:extLst>
              <a:ext uri="{FF2B5EF4-FFF2-40B4-BE49-F238E27FC236}">
                <a16:creationId xmlns:a16="http://schemas.microsoft.com/office/drawing/2014/main" id="{5C9F55A5-3F05-4E1C-8B0C-8EDB7A9BBE2B}"/>
              </a:ext>
            </a:extLst>
          </p:cNvPr>
          <p:cNvSpPr/>
          <p:nvPr/>
        </p:nvSpPr>
        <p:spPr>
          <a:xfrm>
            <a:off x="3756660" y="2103120"/>
            <a:ext cx="1569720" cy="1470660"/>
          </a:xfrm>
          <a:prstGeom prst="rect">
            <a:avLst/>
          </a:prstGeom>
          <a:noFill/>
          <a:ln w="12700">
            <a:solidFill>
              <a:srgbClr val="FFC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Forma Livre: Forma 15">
            <a:extLst>
              <a:ext uri="{FF2B5EF4-FFF2-40B4-BE49-F238E27FC236}">
                <a16:creationId xmlns:a16="http://schemas.microsoft.com/office/drawing/2014/main" id="{8140A96E-563B-4611-ABFC-48052CCFFEC6}"/>
              </a:ext>
            </a:extLst>
          </p:cNvPr>
          <p:cNvSpPr/>
          <p:nvPr/>
        </p:nvSpPr>
        <p:spPr>
          <a:xfrm>
            <a:off x="6507480" y="2136140"/>
            <a:ext cx="1998980" cy="1117600"/>
          </a:xfrm>
          <a:custGeom>
            <a:avLst/>
            <a:gdLst>
              <a:gd name="connsiteX0" fmla="*/ 1275080 w 1998980"/>
              <a:gd name="connsiteY0" fmla="*/ 942340 h 1117600"/>
              <a:gd name="connsiteX1" fmla="*/ 1071880 w 1998980"/>
              <a:gd name="connsiteY1" fmla="*/ 1117600 h 1117600"/>
              <a:gd name="connsiteX2" fmla="*/ 0 w 1998980"/>
              <a:gd name="connsiteY2" fmla="*/ 807720 h 1117600"/>
              <a:gd name="connsiteX3" fmla="*/ 937260 w 1998980"/>
              <a:gd name="connsiteY3" fmla="*/ 0 h 1117600"/>
              <a:gd name="connsiteX4" fmla="*/ 1998980 w 1998980"/>
              <a:gd name="connsiteY4" fmla="*/ 309880 h 1117600"/>
              <a:gd name="connsiteX5" fmla="*/ 1610360 w 1998980"/>
              <a:gd name="connsiteY5" fmla="*/ 652780 h 1117600"/>
              <a:gd name="connsiteX0" fmla="*/ 1244600 w 1998980"/>
              <a:gd name="connsiteY0" fmla="*/ 969010 h 1117600"/>
              <a:gd name="connsiteX1" fmla="*/ 1071880 w 1998980"/>
              <a:gd name="connsiteY1" fmla="*/ 1117600 h 1117600"/>
              <a:gd name="connsiteX2" fmla="*/ 0 w 1998980"/>
              <a:gd name="connsiteY2" fmla="*/ 807720 h 1117600"/>
              <a:gd name="connsiteX3" fmla="*/ 937260 w 1998980"/>
              <a:gd name="connsiteY3" fmla="*/ 0 h 1117600"/>
              <a:gd name="connsiteX4" fmla="*/ 1998980 w 1998980"/>
              <a:gd name="connsiteY4" fmla="*/ 309880 h 1117600"/>
              <a:gd name="connsiteX5" fmla="*/ 1610360 w 1998980"/>
              <a:gd name="connsiteY5" fmla="*/ 652780 h 1117600"/>
              <a:gd name="connsiteX0" fmla="*/ 1233170 w 1998980"/>
              <a:gd name="connsiteY0" fmla="*/ 976630 h 1117600"/>
              <a:gd name="connsiteX1" fmla="*/ 1071880 w 1998980"/>
              <a:gd name="connsiteY1" fmla="*/ 1117600 h 1117600"/>
              <a:gd name="connsiteX2" fmla="*/ 0 w 1998980"/>
              <a:gd name="connsiteY2" fmla="*/ 807720 h 1117600"/>
              <a:gd name="connsiteX3" fmla="*/ 937260 w 1998980"/>
              <a:gd name="connsiteY3" fmla="*/ 0 h 1117600"/>
              <a:gd name="connsiteX4" fmla="*/ 1998980 w 1998980"/>
              <a:gd name="connsiteY4" fmla="*/ 309880 h 1117600"/>
              <a:gd name="connsiteX5" fmla="*/ 1610360 w 1998980"/>
              <a:gd name="connsiteY5" fmla="*/ 652780 h 1117600"/>
              <a:gd name="connsiteX0" fmla="*/ 1233170 w 1998980"/>
              <a:gd name="connsiteY0" fmla="*/ 976630 h 1117600"/>
              <a:gd name="connsiteX1" fmla="*/ 1071880 w 1998980"/>
              <a:gd name="connsiteY1" fmla="*/ 1117600 h 1117600"/>
              <a:gd name="connsiteX2" fmla="*/ 0 w 1998980"/>
              <a:gd name="connsiteY2" fmla="*/ 807720 h 1117600"/>
              <a:gd name="connsiteX3" fmla="*/ 937260 w 1998980"/>
              <a:gd name="connsiteY3" fmla="*/ 0 h 1117600"/>
              <a:gd name="connsiteX4" fmla="*/ 1998980 w 1998980"/>
              <a:gd name="connsiteY4" fmla="*/ 309880 h 1117600"/>
              <a:gd name="connsiteX5" fmla="*/ 1623695 w 1998980"/>
              <a:gd name="connsiteY5" fmla="*/ 645160 h 1117600"/>
              <a:gd name="connsiteX0" fmla="*/ 1233170 w 1998980"/>
              <a:gd name="connsiteY0" fmla="*/ 976630 h 1117600"/>
              <a:gd name="connsiteX1" fmla="*/ 1071880 w 1998980"/>
              <a:gd name="connsiteY1" fmla="*/ 1117600 h 1117600"/>
              <a:gd name="connsiteX2" fmla="*/ 0 w 1998980"/>
              <a:gd name="connsiteY2" fmla="*/ 807720 h 1117600"/>
              <a:gd name="connsiteX3" fmla="*/ 937260 w 1998980"/>
              <a:gd name="connsiteY3" fmla="*/ 0 h 1117600"/>
              <a:gd name="connsiteX4" fmla="*/ 1998980 w 1998980"/>
              <a:gd name="connsiteY4" fmla="*/ 309880 h 1117600"/>
              <a:gd name="connsiteX5" fmla="*/ 1621790 w 1998980"/>
              <a:gd name="connsiteY5" fmla="*/ 643255 h 111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98980" h="1117600">
                <a:moveTo>
                  <a:pt x="1233170" y="976630"/>
                </a:moveTo>
                <a:lnTo>
                  <a:pt x="1071880" y="1117600"/>
                </a:lnTo>
                <a:lnTo>
                  <a:pt x="0" y="807720"/>
                </a:lnTo>
                <a:lnTo>
                  <a:pt x="937260" y="0"/>
                </a:lnTo>
                <a:lnTo>
                  <a:pt x="1998980" y="309880"/>
                </a:lnTo>
                <a:lnTo>
                  <a:pt x="1621790" y="643255"/>
                </a:lnTo>
              </a:path>
            </a:pathLst>
          </a:custGeom>
          <a:noFill/>
          <a:ln w="57150" cap="rnd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1703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Uma imagem contendo cama&#10;&#10;Descrição gerada automaticamente">
            <a:extLst>
              <a:ext uri="{FF2B5EF4-FFF2-40B4-BE49-F238E27FC236}">
                <a16:creationId xmlns:a16="http://schemas.microsoft.com/office/drawing/2014/main" id="{D1DED089-BCCB-4B29-942E-1FFDB012DC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894742"/>
            <a:ext cx="9144000" cy="2449651"/>
          </a:xfrm>
          <a:prstGeom prst="rect">
            <a:avLst/>
          </a:prstGeom>
        </p:spPr>
      </p:pic>
      <p:cxnSp>
        <p:nvCxnSpPr>
          <p:cNvPr id="10" name="Conector: Angulado 9">
            <a:extLst>
              <a:ext uri="{FF2B5EF4-FFF2-40B4-BE49-F238E27FC236}">
                <a16:creationId xmlns:a16="http://schemas.microsoft.com/office/drawing/2014/main" id="{95B60C37-6B5F-441C-80A1-B4C4D2CC5F19}"/>
              </a:ext>
            </a:extLst>
          </p:cNvPr>
          <p:cNvCxnSpPr>
            <a:cxnSpLocks/>
            <a:endCxn id="14" idx="3"/>
          </p:cNvCxnSpPr>
          <p:nvPr/>
        </p:nvCxnSpPr>
        <p:spPr>
          <a:xfrm rot="5400000">
            <a:off x="3191748" y="4049487"/>
            <a:ext cx="237181" cy="210496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A09D4626-C061-4486-807A-621630160AD8}"/>
              </a:ext>
            </a:extLst>
          </p:cNvPr>
          <p:cNvSpPr txBox="1"/>
          <p:nvPr/>
        </p:nvSpPr>
        <p:spPr>
          <a:xfrm>
            <a:off x="287213" y="2249189"/>
            <a:ext cx="13686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pt-PT" sz="1100">
                <a:solidFill>
                  <a:schemeClr val="bg1">
                    <a:lumMod val="50000"/>
                  </a:schemeClr>
                </a:solidFill>
              </a:rPr>
              <a:t>ISOLAMENTO DO TELHADO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1BBD73A-CF9C-4821-8697-BE64F84592BA}"/>
              </a:ext>
            </a:extLst>
          </p:cNvPr>
          <p:cNvSpPr txBox="1"/>
          <p:nvPr/>
        </p:nvSpPr>
        <p:spPr>
          <a:xfrm>
            <a:off x="287212" y="3817057"/>
            <a:ext cx="12156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pt-PT" sz="1100">
                <a:solidFill>
                  <a:schemeClr val="bg1">
                    <a:lumMod val="50000"/>
                  </a:schemeClr>
                </a:solidFill>
              </a:rPr>
              <a:t>PAINÉIS DO TELHADO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F79E8EE6-5C87-44EC-8681-23D6E6B95B26}"/>
              </a:ext>
            </a:extLst>
          </p:cNvPr>
          <p:cNvSpPr txBox="1"/>
          <p:nvPr/>
        </p:nvSpPr>
        <p:spPr>
          <a:xfrm>
            <a:off x="1988820" y="4142521"/>
            <a:ext cx="12162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pt-PT" sz="1100">
                <a:solidFill>
                  <a:schemeClr val="bg1">
                    <a:lumMod val="50000"/>
                  </a:schemeClr>
                </a:solidFill>
              </a:rPr>
              <a:t>VIGAS DO TELHADO</a:t>
            </a:r>
          </a:p>
        </p:txBody>
      </p:sp>
      <p:cxnSp>
        <p:nvCxnSpPr>
          <p:cNvPr id="16" name="Conector: Angulado 15">
            <a:extLst>
              <a:ext uri="{FF2B5EF4-FFF2-40B4-BE49-F238E27FC236}">
                <a16:creationId xmlns:a16="http://schemas.microsoft.com/office/drawing/2014/main" id="{43E8901C-5946-4EA7-A8CC-6F41AB4AEB2E}"/>
              </a:ext>
            </a:extLst>
          </p:cNvPr>
          <p:cNvCxnSpPr>
            <a:cxnSpLocks/>
            <a:endCxn id="11" idx="3"/>
          </p:cNvCxnSpPr>
          <p:nvPr/>
        </p:nvCxnSpPr>
        <p:spPr>
          <a:xfrm rot="16200000" flipV="1">
            <a:off x="1602360" y="2433518"/>
            <a:ext cx="348550" cy="241502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: Angulado 22">
            <a:extLst>
              <a:ext uri="{FF2B5EF4-FFF2-40B4-BE49-F238E27FC236}">
                <a16:creationId xmlns:a16="http://schemas.microsoft.com/office/drawing/2014/main" id="{6EB03080-A74D-4E26-BB29-555ACD7D0C19}"/>
              </a:ext>
            </a:extLst>
          </p:cNvPr>
          <p:cNvCxnSpPr>
            <a:cxnSpLocks/>
            <a:stCxn id="13" idx="3"/>
          </p:cNvCxnSpPr>
          <p:nvPr/>
        </p:nvCxnSpPr>
        <p:spPr>
          <a:xfrm flipV="1">
            <a:off x="1502899" y="3711154"/>
            <a:ext cx="152986" cy="236708"/>
          </a:xfrm>
          <a:prstGeom prst="bentConnector2">
            <a:avLst/>
          </a:prstGeom>
          <a:ln w="12700">
            <a:solidFill>
              <a:srgbClr val="B5013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6</a:t>
            </a:fld>
            <a:r>
              <a:rPr lang="pt-PT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147710" y="789366"/>
            <a:ext cx="7492610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A parte inferior da base de assentamento deverá assentar nas vigas da cobertura.</a:t>
            </a:r>
          </a:p>
          <a:p>
            <a:pPr>
              <a:spcAft>
                <a:spcPts val="600"/>
              </a:spcAft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Toda a superfície da base de assentamento deverá ficar em contacto com as vigas (sem espaçamentos).</a:t>
            </a:r>
          </a:p>
        </p:txBody>
      </p:sp>
    </p:spTree>
    <p:extLst>
      <p:ext uri="{BB962C8B-B14F-4D97-AF65-F5344CB8AC3E}">
        <p14:creationId xmlns:p14="http://schemas.microsoft.com/office/powerpoint/2010/main" val="3244337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E CONDUTAS</a:t>
            </a:r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60</a:t>
            </a:fld>
            <a:r>
              <a:rPr lang="pt-PT"/>
              <a:t> |</a:t>
            </a: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43F36B20-3488-476F-B208-66223AEE3E86}"/>
              </a:ext>
            </a:extLst>
          </p:cNvPr>
          <p:cNvGrpSpPr/>
          <p:nvPr/>
        </p:nvGrpSpPr>
        <p:grpSpPr>
          <a:xfrm>
            <a:off x="179521" y="1256005"/>
            <a:ext cx="2447778" cy="3062377"/>
            <a:chOff x="274320" y="1256005"/>
            <a:chExt cx="2447778" cy="3062377"/>
          </a:xfrm>
        </p:grpSpPr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1EC3C266-15B6-4976-9204-A96E47CF13A1}"/>
                </a:ext>
              </a:extLst>
            </p:cNvPr>
            <p:cNvSpPr txBox="1"/>
            <p:nvPr/>
          </p:nvSpPr>
          <p:spPr>
            <a:xfrm>
              <a:off x="274320" y="1256005"/>
              <a:ext cx="2447778" cy="30623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pt-PT" sz="1400" dirty="0">
                  <a:solidFill>
                    <a:schemeClr val="bg1">
                      <a:lumMod val="50000"/>
                    </a:schemeClr>
                  </a:solidFill>
                </a:rPr>
                <a:t>Instale as condutas de ar nas portas de insuflação e retorno da base de assentamento.</a:t>
              </a: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r>
                <a:rPr lang="pt-PT" sz="1400" dirty="0">
                  <a:solidFill>
                    <a:srgbClr val="B50130"/>
                  </a:solidFill>
                </a:rPr>
                <a:t>Certifique-se de que as condutas são instaladas na BASE DE ASSENTAMENTO e não nas vigas da cobertura.</a:t>
              </a:r>
            </a:p>
          </p:txBody>
        </p:sp>
        <p:pic>
          <p:nvPicPr>
            <p:cNvPr id="12" name="Gráfico 11" descr="Aviso com preenchimento sólido">
              <a:extLst>
                <a:ext uri="{FF2B5EF4-FFF2-40B4-BE49-F238E27FC236}">
                  <a16:creationId xmlns:a16="http://schemas.microsoft.com/office/drawing/2014/main" id="{F65B1601-C215-4E87-BC9A-E57E0CFBF6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247879" y="2632550"/>
              <a:ext cx="500660" cy="500660"/>
            </a:xfrm>
            <a:prstGeom prst="rect">
              <a:avLst/>
            </a:prstGeom>
          </p:spPr>
        </p:pic>
      </p:grpSp>
      <p:pic>
        <p:nvPicPr>
          <p:cNvPr id="6" name="Imagem 5" descr="Diagrama&#10;&#10;Descrição gerada automaticamente">
            <a:extLst>
              <a:ext uri="{FF2B5EF4-FFF2-40B4-BE49-F238E27FC236}">
                <a16:creationId xmlns:a16="http://schemas.microsoft.com/office/drawing/2014/main" id="{11278BF2-06CC-4B78-8649-E1D27CB845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60971" y="715447"/>
            <a:ext cx="5094018" cy="4334546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627B40B0-61C8-4320-87FE-0FE0CB457D78}"/>
              </a:ext>
            </a:extLst>
          </p:cNvPr>
          <p:cNvSpPr txBox="1"/>
          <p:nvPr/>
        </p:nvSpPr>
        <p:spPr>
          <a:xfrm>
            <a:off x="3963572" y="3877695"/>
            <a:ext cx="1216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PT" sz="1400">
                <a:solidFill>
                  <a:srgbClr val="B50130"/>
                </a:solidFill>
              </a:rPr>
              <a:t>CONDUTA DE INSUFLAÇÃO</a:t>
            </a:r>
          </a:p>
        </p:txBody>
      </p:sp>
    </p:spTree>
    <p:extLst>
      <p:ext uri="{BB962C8B-B14F-4D97-AF65-F5344CB8AC3E}">
        <p14:creationId xmlns:p14="http://schemas.microsoft.com/office/powerpoint/2010/main" val="3360087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 descr="Uma imagem contendo Gráfico&#10;&#10;Descrição gerada automaticamente">
            <a:extLst>
              <a:ext uri="{FF2B5EF4-FFF2-40B4-BE49-F238E27FC236}">
                <a16:creationId xmlns:a16="http://schemas.microsoft.com/office/drawing/2014/main" id="{BCEB4449-0D52-42B0-B262-D619C7EFF5F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842" t="35252" r="26792" b="24820"/>
          <a:stretch/>
        </p:blipFill>
        <p:spPr>
          <a:xfrm>
            <a:off x="6132359" y="1382095"/>
            <a:ext cx="2832118" cy="2977981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E CONDUTAS</a:t>
            </a:r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61</a:t>
            </a:fld>
            <a:r>
              <a:rPr lang="pt-PT"/>
              <a:t> |</a:t>
            </a: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43F36B20-3488-476F-B208-66223AEE3E86}"/>
              </a:ext>
            </a:extLst>
          </p:cNvPr>
          <p:cNvGrpSpPr/>
          <p:nvPr/>
        </p:nvGrpSpPr>
        <p:grpSpPr>
          <a:xfrm>
            <a:off x="179521" y="1256005"/>
            <a:ext cx="2447778" cy="3062377"/>
            <a:chOff x="274320" y="1256005"/>
            <a:chExt cx="2447778" cy="3062377"/>
          </a:xfrm>
        </p:grpSpPr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1EC3C266-15B6-4976-9204-A96E47CF13A1}"/>
                </a:ext>
              </a:extLst>
            </p:cNvPr>
            <p:cNvSpPr txBox="1"/>
            <p:nvPr/>
          </p:nvSpPr>
          <p:spPr>
            <a:xfrm>
              <a:off x="274320" y="1256005"/>
              <a:ext cx="2447778" cy="30623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pt-PT" sz="1400" dirty="0">
                  <a:solidFill>
                    <a:schemeClr val="bg1">
                      <a:lumMod val="50000"/>
                    </a:schemeClr>
                  </a:solidFill>
                </a:rPr>
                <a:t>Instale as condutas de ar nas portas de insuflação e retorno da base de assentamento.</a:t>
              </a: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r>
                <a:rPr lang="pt-PT" sz="1400" dirty="0">
                  <a:solidFill>
                    <a:srgbClr val="B50130"/>
                  </a:solidFill>
                </a:rPr>
                <a:t>Certifique-se de que as condutas são instaladas na BASE DE ASSENTAMENTO e não nas vigas da cobertura.</a:t>
              </a:r>
            </a:p>
          </p:txBody>
        </p:sp>
        <p:pic>
          <p:nvPicPr>
            <p:cNvPr id="12" name="Gráfico 11" descr="Aviso com preenchimento sólido">
              <a:extLst>
                <a:ext uri="{FF2B5EF4-FFF2-40B4-BE49-F238E27FC236}">
                  <a16:creationId xmlns:a16="http://schemas.microsoft.com/office/drawing/2014/main" id="{F65B1601-C215-4E87-BC9A-E57E0CFBF67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247879" y="2632550"/>
              <a:ext cx="500660" cy="500660"/>
            </a:xfrm>
            <a:prstGeom prst="rect">
              <a:avLst/>
            </a:prstGeom>
          </p:spPr>
        </p:pic>
      </p:grpSp>
      <p:pic>
        <p:nvPicPr>
          <p:cNvPr id="5" name="Imagem 4" descr="Uma imagem contendo Gráfico&#10;&#10;Descrição gerada automaticamente">
            <a:extLst>
              <a:ext uri="{FF2B5EF4-FFF2-40B4-BE49-F238E27FC236}">
                <a16:creationId xmlns:a16="http://schemas.microsoft.com/office/drawing/2014/main" id="{6B1F5A31-1D1A-4013-9C71-2ED91D7EA3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0513" y="715446"/>
            <a:ext cx="2818631" cy="4332397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6" name="CaixaDeTexto 15">
            <a:extLst>
              <a:ext uri="{FF2B5EF4-FFF2-40B4-BE49-F238E27FC236}">
                <a16:creationId xmlns:a16="http://schemas.microsoft.com/office/drawing/2014/main" id="{58FE00A9-B37B-4642-BCCF-E42EAAF26DFF}"/>
              </a:ext>
            </a:extLst>
          </p:cNvPr>
          <p:cNvSpPr txBox="1"/>
          <p:nvPr/>
        </p:nvSpPr>
        <p:spPr>
          <a:xfrm>
            <a:off x="4278979" y="4416446"/>
            <a:ext cx="1216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400">
                <a:solidFill>
                  <a:srgbClr val="B50130"/>
                </a:solidFill>
              </a:rPr>
              <a:t>CONDUTA DE RETORNO</a:t>
            </a:r>
          </a:p>
        </p:txBody>
      </p:sp>
      <p:sp>
        <p:nvSpPr>
          <p:cNvPr id="7" name="Forma Livre: Forma 6">
            <a:extLst>
              <a:ext uri="{FF2B5EF4-FFF2-40B4-BE49-F238E27FC236}">
                <a16:creationId xmlns:a16="http://schemas.microsoft.com/office/drawing/2014/main" id="{F77BE457-ECF0-4DF7-A98E-94A538FAE1D3}"/>
              </a:ext>
            </a:extLst>
          </p:cNvPr>
          <p:cNvSpPr/>
          <p:nvPr/>
        </p:nvSpPr>
        <p:spPr>
          <a:xfrm>
            <a:off x="6560820" y="1772920"/>
            <a:ext cx="1102360" cy="1562100"/>
          </a:xfrm>
          <a:custGeom>
            <a:avLst/>
            <a:gdLst>
              <a:gd name="connsiteX0" fmla="*/ 116840 w 1102360"/>
              <a:gd name="connsiteY0" fmla="*/ 424180 h 1564640"/>
              <a:gd name="connsiteX1" fmla="*/ 0 w 1102360"/>
              <a:gd name="connsiteY1" fmla="*/ 101600 h 1564640"/>
              <a:gd name="connsiteX2" fmla="*/ 533400 w 1102360"/>
              <a:gd name="connsiteY2" fmla="*/ 0 h 1564640"/>
              <a:gd name="connsiteX3" fmla="*/ 1102360 w 1102360"/>
              <a:gd name="connsiteY3" fmla="*/ 1503680 h 1564640"/>
              <a:gd name="connsiteX4" fmla="*/ 800100 w 1102360"/>
              <a:gd name="connsiteY4" fmla="*/ 1564640 h 1564640"/>
              <a:gd name="connsiteX0" fmla="*/ 111760 w 1102360"/>
              <a:gd name="connsiteY0" fmla="*/ 411480 h 1564640"/>
              <a:gd name="connsiteX1" fmla="*/ 0 w 1102360"/>
              <a:gd name="connsiteY1" fmla="*/ 101600 h 1564640"/>
              <a:gd name="connsiteX2" fmla="*/ 533400 w 1102360"/>
              <a:gd name="connsiteY2" fmla="*/ 0 h 1564640"/>
              <a:gd name="connsiteX3" fmla="*/ 1102360 w 1102360"/>
              <a:gd name="connsiteY3" fmla="*/ 1503680 h 1564640"/>
              <a:gd name="connsiteX4" fmla="*/ 800100 w 1102360"/>
              <a:gd name="connsiteY4" fmla="*/ 1564640 h 1564640"/>
              <a:gd name="connsiteX0" fmla="*/ 109220 w 1102360"/>
              <a:gd name="connsiteY0" fmla="*/ 398780 h 1564640"/>
              <a:gd name="connsiteX1" fmla="*/ 0 w 1102360"/>
              <a:gd name="connsiteY1" fmla="*/ 101600 h 1564640"/>
              <a:gd name="connsiteX2" fmla="*/ 533400 w 1102360"/>
              <a:gd name="connsiteY2" fmla="*/ 0 h 1564640"/>
              <a:gd name="connsiteX3" fmla="*/ 1102360 w 1102360"/>
              <a:gd name="connsiteY3" fmla="*/ 1503680 h 1564640"/>
              <a:gd name="connsiteX4" fmla="*/ 800100 w 1102360"/>
              <a:gd name="connsiteY4" fmla="*/ 1564640 h 1564640"/>
              <a:gd name="connsiteX0" fmla="*/ 109220 w 1102360"/>
              <a:gd name="connsiteY0" fmla="*/ 398780 h 1562100"/>
              <a:gd name="connsiteX1" fmla="*/ 0 w 1102360"/>
              <a:gd name="connsiteY1" fmla="*/ 101600 h 1562100"/>
              <a:gd name="connsiteX2" fmla="*/ 533400 w 1102360"/>
              <a:gd name="connsiteY2" fmla="*/ 0 h 1562100"/>
              <a:gd name="connsiteX3" fmla="*/ 1102360 w 1102360"/>
              <a:gd name="connsiteY3" fmla="*/ 1503680 h 1562100"/>
              <a:gd name="connsiteX4" fmla="*/ 810260 w 1102360"/>
              <a:gd name="connsiteY4" fmla="*/ 1562100 h 1562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2360" h="1562100">
                <a:moveTo>
                  <a:pt x="109220" y="398780"/>
                </a:moveTo>
                <a:lnTo>
                  <a:pt x="0" y="101600"/>
                </a:lnTo>
                <a:lnTo>
                  <a:pt x="533400" y="0"/>
                </a:lnTo>
                <a:lnTo>
                  <a:pt x="1102360" y="1503680"/>
                </a:lnTo>
                <a:lnTo>
                  <a:pt x="810260" y="1562100"/>
                </a:lnTo>
              </a:path>
            </a:pathLst>
          </a:custGeom>
          <a:noFill/>
          <a:ln w="57150" cap="rnd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A86693DF-48FE-4EB2-A9E3-8809BF80F349}"/>
              </a:ext>
            </a:extLst>
          </p:cNvPr>
          <p:cNvSpPr/>
          <p:nvPr/>
        </p:nvSpPr>
        <p:spPr>
          <a:xfrm>
            <a:off x="3406140" y="2247900"/>
            <a:ext cx="1638300" cy="1729740"/>
          </a:xfrm>
          <a:prstGeom prst="rect">
            <a:avLst/>
          </a:prstGeom>
          <a:noFill/>
          <a:ln w="12700">
            <a:solidFill>
              <a:srgbClr val="FFC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Espaço Reservado para Data 3">
            <a:extLst>
              <a:ext uri="{FF2B5EF4-FFF2-40B4-BE49-F238E27FC236}">
                <a16:creationId xmlns:a16="http://schemas.microsoft.com/office/drawing/2014/main" id="{64B09ABC-9670-4379-8944-813FE3C8E0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89215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E CONDUTAS</a:t>
            </a:r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62</a:t>
            </a:fld>
            <a:r>
              <a:rPr lang="pt-PT"/>
              <a:t> |</a:t>
            </a:r>
          </a:p>
        </p:txBody>
      </p:sp>
      <p:grpSp>
        <p:nvGrpSpPr>
          <p:cNvPr id="11" name="Agrupar 10">
            <a:extLst>
              <a:ext uri="{FF2B5EF4-FFF2-40B4-BE49-F238E27FC236}">
                <a16:creationId xmlns:a16="http://schemas.microsoft.com/office/drawing/2014/main" id="{43F36B20-3488-476F-B208-66223AEE3E86}"/>
              </a:ext>
            </a:extLst>
          </p:cNvPr>
          <p:cNvGrpSpPr/>
          <p:nvPr/>
        </p:nvGrpSpPr>
        <p:grpSpPr>
          <a:xfrm>
            <a:off x="179521" y="1256005"/>
            <a:ext cx="2447778" cy="3062377"/>
            <a:chOff x="274320" y="1256005"/>
            <a:chExt cx="2447778" cy="3062377"/>
          </a:xfrm>
        </p:grpSpPr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1EC3C266-15B6-4976-9204-A96E47CF13A1}"/>
                </a:ext>
              </a:extLst>
            </p:cNvPr>
            <p:cNvSpPr txBox="1"/>
            <p:nvPr/>
          </p:nvSpPr>
          <p:spPr>
            <a:xfrm>
              <a:off x="274320" y="1256005"/>
              <a:ext cx="2447778" cy="30623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pt-PT" sz="1400" dirty="0">
                  <a:solidFill>
                    <a:schemeClr val="bg1">
                      <a:lumMod val="50000"/>
                    </a:schemeClr>
                  </a:solidFill>
                </a:rPr>
                <a:t>Instale as condutas de ar nas portas de insuflação e retorno da base de assentamento.</a:t>
              </a: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endParaRPr lang="en-GB" sz="140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>
                <a:spcAft>
                  <a:spcPts val="600"/>
                </a:spcAft>
              </a:pPr>
              <a:r>
                <a:rPr lang="pt-PT" sz="1400" dirty="0">
                  <a:solidFill>
                    <a:srgbClr val="B50130"/>
                  </a:solidFill>
                </a:rPr>
                <a:t>Certifique-se de que as condutas são instaladas na BASE DE ASSENTAMENTO e não nas vigas da cobertura.</a:t>
              </a:r>
            </a:p>
          </p:txBody>
        </p:sp>
        <p:pic>
          <p:nvPicPr>
            <p:cNvPr id="12" name="Gráfico 11" descr="Aviso com preenchimento sólido">
              <a:extLst>
                <a:ext uri="{FF2B5EF4-FFF2-40B4-BE49-F238E27FC236}">
                  <a16:creationId xmlns:a16="http://schemas.microsoft.com/office/drawing/2014/main" id="{F65B1601-C215-4E87-BC9A-E57E0CFBF67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247879" y="2632550"/>
              <a:ext cx="500660" cy="500660"/>
            </a:xfrm>
            <a:prstGeom prst="rect">
              <a:avLst/>
            </a:prstGeom>
          </p:spPr>
        </p:pic>
      </p:grpSp>
      <p:pic>
        <p:nvPicPr>
          <p:cNvPr id="6" name="Imagem 5" descr="Texto&#10;&#10;Descrição gerada automaticamente">
            <a:extLst>
              <a:ext uri="{FF2B5EF4-FFF2-40B4-BE49-F238E27FC236}">
                <a16:creationId xmlns:a16="http://schemas.microsoft.com/office/drawing/2014/main" id="{7467D28F-0481-4FF0-AAA2-FC59E3140C3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932" b="2226"/>
          <a:stretch/>
        </p:blipFill>
        <p:spPr>
          <a:xfrm>
            <a:off x="3987162" y="707043"/>
            <a:ext cx="3541398" cy="4352638"/>
          </a:xfrm>
          <a:prstGeom prst="rect">
            <a:avLst/>
          </a:prstGeom>
          <a:ln w="12700">
            <a:solidFill>
              <a:srgbClr val="B50130"/>
            </a:solidFill>
          </a:ln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93D6C2D7-4CA6-4DDF-B701-EC470D2C67BA}"/>
              </a:ext>
            </a:extLst>
          </p:cNvPr>
          <p:cNvSpPr txBox="1"/>
          <p:nvPr/>
        </p:nvSpPr>
        <p:spPr>
          <a:xfrm rot="4151564">
            <a:off x="4444470" y="3827937"/>
            <a:ext cx="1492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400" dirty="0">
                <a:solidFill>
                  <a:srgbClr val="FFC000"/>
                </a:solidFill>
              </a:rPr>
              <a:t>CONDUTA DE RETORNO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D3A8C839-246B-409A-9D5E-D6F69F3E553D}"/>
              </a:ext>
            </a:extLst>
          </p:cNvPr>
          <p:cNvSpPr txBox="1"/>
          <p:nvPr/>
        </p:nvSpPr>
        <p:spPr>
          <a:xfrm rot="4155659">
            <a:off x="5822852" y="3590985"/>
            <a:ext cx="1216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400">
                <a:solidFill>
                  <a:srgbClr val="FFC000"/>
                </a:solidFill>
              </a:rPr>
              <a:t>CONDUTA DE INSUFLAÇÃO</a:t>
            </a:r>
          </a:p>
        </p:txBody>
      </p:sp>
    </p:spTree>
    <p:extLst>
      <p:ext uri="{BB962C8B-B14F-4D97-AF65-F5344CB8AC3E}">
        <p14:creationId xmlns:p14="http://schemas.microsoft.com/office/powerpoint/2010/main" val="83361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Diagrama, Desenho técnico&#10;&#10;Descrição gerada automaticamente">
            <a:extLst>
              <a:ext uri="{FF2B5EF4-FFF2-40B4-BE49-F238E27FC236}">
                <a16:creationId xmlns:a16="http://schemas.microsoft.com/office/drawing/2014/main" id="{4FBE858F-8AAD-4824-AC0B-EDCDD5BE165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927787" y="826161"/>
            <a:ext cx="7216212" cy="3965272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E CONDUTAS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63</a:t>
            </a:fld>
            <a:r>
              <a:rPr lang="pt-PT"/>
              <a:t> |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423AFCEF-08EE-42E1-A4F7-C957826F1BA0}"/>
              </a:ext>
            </a:extLst>
          </p:cNvPr>
          <p:cNvSpPr txBox="1"/>
          <p:nvPr/>
        </p:nvSpPr>
        <p:spPr>
          <a:xfrm>
            <a:off x="274320" y="1256005"/>
            <a:ext cx="2447778" cy="3062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Instale as condutas de ar nas portas de insuflação e retorno da base de assentamento.</a:t>
            </a:r>
          </a:p>
          <a:p>
            <a:pPr algn="ctr">
              <a:spcAft>
                <a:spcPts val="600"/>
              </a:spcAft>
            </a:pP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>
              <a:spcAft>
                <a:spcPts val="600"/>
              </a:spcAft>
            </a:pP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>
              <a:spcAft>
                <a:spcPts val="600"/>
              </a:spcAft>
            </a:pP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>
              <a:spcAft>
                <a:spcPts val="600"/>
              </a:spcAft>
            </a:pP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>
              <a:spcAft>
                <a:spcPts val="600"/>
              </a:spcAft>
            </a:pPr>
            <a:r>
              <a:rPr lang="pt-PT" sz="1400" dirty="0">
                <a:solidFill>
                  <a:srgbClr val="B50130"/>
                </a:solidFill>
              </a:rPr>
              <a:t>Certifique-se de que as condutas são instaladas na BASE DE ASSENTAMENTO e não nas vigas da cobertura.</a:t>
            </a:r>
          </a:p>
        </p:txBody>
      </p:sp>
      <p:pic>
        <p:nvPicPr>
          <p:cNvPr id="11" name="Gráfico 10" descr="Aviso com preenchimento sólido">
            <a:extLst>
              <a:ext uri="{FF2B5EF4-FFF2-40B4-BE49-F238E27FC236}">
                <a16:creationId xmlns:a16="http://schemas.microsoft.com/office/drawing/2014/main" id="{23DE6DE2-DFD3-4430-BA9C-55EC633175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47879" y="2632550"/>
            <a:ext cx="500660" cy="500660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8444B5CC-868C-4225-BB4E-7B82837E15C2}"/>
              </a:ext>
            </a:extLst>
          </p:cNvPr>
          <p:cNvSpPr txBox="1"/>
          <p:nvPr/>
        </p:nvSpPr>
        <p:spPr>
          <a:xfrm rot="20862087">
            <a:off x="6397127" y="3655032"/>
            <a:ext cx="16381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400">
                <a:solidFill>
                  <a:srgbClr val="B50130"/>
                </a:solidFill>
              </a:rPr>
              <a:t>CONDUTAS DE RETORNO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BB3AFC80-5275-4C1D-9B3A-2C1662C497BD}"/>
              </a:ext>
            </a:extLst>
          </p:cNvPr>
          <p:cNvSpPr txBox="1"/>
          <p:nvPr/>
        </p:nvSpPr>
        <p:spPr>
          <a:xfrm rot="20862087">
            <a:off x="3527318" y="4255212"/>
            <a:ext cx="16381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400">
                <a:solidFill>
                  <a:srgbClr val="B50130"/>
                </a:solidFill>
              </a:rPr>
              <a:t>CONDUTAS DE INSUFLAÇÃO</a:t>
            </a:r>
          </a:p>
        </p:txBody>
      </p:sp>
    </p:spTree>
    <p:extLst>
      <p:ext uri="{BB962C8B-B14F-4D97-AF65-F5344CB8AC3E}">
        <p14:creationId xmlns:p14="http://schemas.microsoft.com/office/powerpoint/2010/main" val="2725335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334509"/>
            <a:ext cx="8636876" cy="1371600"/>
          </a:xfrm>
        </p:spPr>
        <p:txBody>
          <a:bodyPr/>
          <a:lstStyle/>
          <a:p>
            <a:pPr>
              <a:spcAft>
                <a:spcPts val="1800"/>
              </a:spcAft>
            </a:pPr>
            <a:br>
              <a:rPr lang="pt-PT" sz="1200" b="1"/>
            </a:br>
            <a:br>
              <a:rPr lang="pt-PT" sz="1200" b="1"/>
            </a:br>
            <a:br>
              <a:rPr lang="pt-PT" sz="1200" b="1"/>
            </a:br>
            <a:br>
              <a:rPr lang="pt-PT" sz="1200" b="1"/>
            </a:br>
            <a:r>
              <a:rPr lang="pt-PT" sz="4800" b="1"/>
              <a:t>e-Baltic</a:t>
            </a:r>
            <a:br>
              <a:rPr lang="pt-PT" sz="4000" b="1"/>
            </a:br>
            <a:r>
              <a:rPr lang="pt-PT" sz="2800" b="1"/>
              <a:t>Arranque</a:t>
            </a:r>
          </a:p>
        </p:txBody>
      </p:sp>
    </p:spTree>
    <p:extLst>
      <p:ext uri="{BB962C8B-B14F-4D97-AF65-F5344CB8AC3E}">
        <p14:creationId xmlns:p14="http://schemas.microsoft.com/office/powerpoint/2010/main" val="1441325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Diagrama, Desenho técnico&#10;&#10;Descrição gerada automaticamente">
            <a:extLst>
              <a:ext uri="{FF2B5EF4-FFF2-40B4-BE49-F238E27FC236}">
                <a16:creationId xmlns:a16="http://schemas.microsoft.com/office/drawing/2014/main" id="{8D320968-B1E9-4FCD-B7D0-4A80B495FAC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96418" y="1872062"/>
            <a:ext cx="6147582" cy="286186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ARRANQUE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33926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65</a:t>
            </a:fld>
            <a:r>
              <a:rPr lang="pt-PT"/>
              <a:t> |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1EC3C266-15B6-4976-9204-A96E47CF13A1}"/>
              </a:ext>
            </a:extLst>
          </p:cNvPr>
          <p:cNvSpPr txBox="1"/>
          <p:nvPr/>
        </p:nvSpPr>
        <p:spPr>
          <a:xfrm>
            <a:off x="112540" y="716485"/>
            <a:ext cx="3748259" cy="312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A unidade encontra-se pré-carregada com fluído frigorigéneo de fábrica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A unidade encontra-se 100% testada de fábrica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Um técnico certificado da Lennox irá: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verificar as definições, componentes e comandos da unidade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efetuar um teste de fugas de fluído frigorigéneo</a:t>
            </a:r>
          </a:p>
          <a:p>
            <a:pPr marL="742950" lvl="1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e validar a garantia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pt-PT" sz="1400" dirty="0">
                <a:solidFill>
                  <a:schemeClr val="bg1">
                    <a:lumMod val="50000"/>
                  </a:schemeClr>
                </a:solidFill>
              </a:rPr>
              <a:t>A unidade poderá ser ligada à LennoxCloud para garantir uma monitorização e controlo permanentes</a:t>
            </a:r>
          </a:p>
        </p:txBody>
      </p:sp>
      <p:grpSp>
        <p:nvGrpSpPr>
          <p:cNvPr id="8" name="Agrupar 7">
            <a:extLst>
              <a:ext uri="{FF2B5EF4-FFF2-40B4-BE49-F238E27FC236}">
                <a16:creationId xmlns:a16="http://schemas.microsoft.com/office/drawing/2014/main" id="{89284A2D-2304-4981-9F2C-36FAF08EDA9C}"/>
              </a:ext>
            </a:extLst>
          </p:cNvPr>
          <p:cNvGrpSpPr/>
          <p:nvPr/>
        </p:nvGrpSpPr>
        <p:grpSpPr>
          <a:xfrm>
            <a:off x="4644386" y="1157578"/>
            <a:ext cx="2915811" cy="523220"/>
            <a:chOff x="376029" y="805314"/>
            <a:chExt cx="2915811" cy="523220"/>
          </a:xfrm>
        </p:grpSpPr>
        <p:pic>
          <p:nvPicPr>
            <p:cNvPr id="12" name="Gráfico 11" descr="Aviso com preenchimento sólido">
              <a:extLst>
                <a:ext uri="{FF2B5EF4-FFF2-40B4-BE49-F238E27FC236}">
                  <a16:creationId xmlns:a16="http://schemas.microsoft.com/office/drawing/2014/main" id="{F65B1601-C215-4E87-BC9A-E57E0CFBF67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76029" y="805314"/>
              <a:ext cx="500660" cy="500660"/>
            </a:xfrm>
            <a:prstGeom prst="rect">
              <a:avLst/>
            </a:prstGeom>
          </p:spPr>
        </p:pic>
        <p:sp>
          <p:nvSpPr>
            <p:cNvPr id="14" name="CaixaDeTexto 13">
              <a:extLst>
                <a:ext uri="{FF2B5EF4-FFF2-40B4-BE49-F238E27FC236}">
                  <a16:creationId xmlns:a16="http://schemas.microsoft.com/office/drawing/2014/main" id="{F4B0FAA2-176A-4AFC-8F93-6D8DA93AE3E5}"/>
                </a:ext>
              </a:extLst>
            </p:cNvPr>
            <p:cNvSpPr txBox="1"/>
            <p:nvPr/>
          </p:nvSpPr>
          <p:spPr>
            <a:xfrm>
              <a:off x="876689" y="805314"/>
              <a:ext cx="24151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pt-PT" sz="1400" dirty="0">
                  <a:solidFill>
                    <a:srgbClr val="B50130"/>
                  </a:solidFill>
                </a:rPr>
                <a:t>A alimentação deverá estar ligada durante 24 horas antes do arranqu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1634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199420"/>
            <a:ext cx="8636876" cy="1547974"/>
          </a:xfrm>
        </p:spPr>
        <p:txBody>
          <a:bodyPr/>
          <a:lstStyle/>
          <a:p>
            <a:r>
              <a:rPr lang="en-US" sz="3200" spc="300" dirty="0"/>
              <a:t>DECLARAÇÃO</a:t>
            </a:r>
            <a:br>
              <a:rPr lang="en-US" sz="3200" spc="300" dirty="0"/>
            </a:br>
            <a:endParaRPr lang="en-US" sz="4000" spc="300" dirty="0"/>
          </a:p>
        </p:txBody>
      </p:sp>
    </p:spTree>
    <p:extLst>
      <p:ext uri="{BB962C8B-B14F-4D97-AF65-F5344CB8AC3E}">
        <p14:creationId xmlns:p14="http://schemas.microsoft.com/office/powerpoint/2010/main" val="1424861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B1D8EF5-76E3-45A7-AC2E-E49889D7FF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  <a:endParaRPr lang="en-US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4829D20B-D22A-4F6F-B0A7-A5C5D7606F38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en-US" dirty="0"/>
              <a:t>DECLARAÇÃO</a:t>
            </a:r>
          </a:p>
        </p:txBody>
      </p:sp>
      <p:sp>
        <p:nvSpPr>
          <p:cNvPr id="6" name="CaixaDeTexto 9">
            <a:extLst>
              <a:ext uri="{FF2B5EF4-FFF2-40B4-BE49-F238E27FC236}">
                <a16:creationId xmlns:a16="http://schemas.microsoft.com/office/drawing/2014/main" id="{D1611E81-BF6E-44C3-A54F-533D4661AD22}"/>
              </a:ext>
            </a:extLst>
          </p:cNvPr>
          <p:cNvSpPr txBox="1"/>
          <p:nvPr/>
        </p:nvSpPr>
        <p:spPr>
          <a:xfrm>
            <a:off x="380998" y="669734"/>
            <a:ext cx="8526773" cy="46320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UTILIZAÇÃO POR SUA CONTA E RISCO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Apenas indivíduos com licença, formação e qualificações adequadas podem instalar ou reparar equipamento de aquecimento, ventilação, e ar condicionado. Como tal, este vídeo destina-se apenas a indivíduos licenciados, treinados ou de outra forma qualificados. Utilize esta informação por sua própria conta e risco. Qualquer lesão, dano ou perda que possa resultar da utilização das ferramentas, equipamento e produtos representados, ou da informação e conteúdo contidos neste manual, é da exclusiva responsabilidade do utilizador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SEM GARANTIA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Este vídeo, e qualquer informação aqui fornecida, é fornecido " NO ESTADO EM QUE SE ENCONTRA". A Lennox não faz quaisquer representações ou garantias específicas sobre este manual ou quaisquer instruções ou orientações contidas neste manual. Por exemplo, a Lennox não faz quaisquer garantias sobre: (a) o conteúdo fornecido neste manual; (b) quaisquer características específicas deste manual, ou a sua </a:t>
            </a:r>
            <a:r>
              <a:rPr kumimoji="0" lang="pt-BR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exactidão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, fiabilidade, ou capacidade de satisfazer as suas necessidades. A informação contida neste vídeo está sujeita a alterações sem aviso prévio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LIMITAÇÃO DE RESPONSABILIDADE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A Lennox especificamente </a:t>
            </a: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DECLINA A RESPONSABILIDADE POR DANOS ACIDENTAIS OU CONSEQUENTES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e não assume qualquer responsabilidade ou obrigação por qualquer perda ou dano sofrido por qualquer pessoa como resultado da utilização ou má utilização de qualquer das informações ou conteúdo deste manual. A Lennox </a:t>
            </a:r>
            <a:r>
              <a:rPr kumimoji="0" lang="pt-BR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não assume nem se responsabiliza </a:t>
            </a: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por qualquer perda ou dano sofrido como resultado da utilização, má utilização ou confiança nas informações e conteúdo deste manual.</a:t>
            </a:r>
          </a:p>
        </p:txBody>
      </p:sp>
    </p:spTree>
    <p:extLst>
      <p:ext uri="{BB962C8B-B14F-4D97-AF65-F5344CB8AC3E}">
        <p14:creationId xmlns:p14="http://schemas.microsoft.com/office/powerpoint/2010/main" val="1356952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3653" y="1199420"/>
            <a:ext cx="8636876" cy="1547974"/>
          </a:xfrm>
        </p:spPr>
        <p:txBody>
          <a:bodyPr/>
          <a:lstStyle/>
          <a:p>
            <a:r>
              <a:rPr lang="pt-PT" sz="3200"/>
              <a:t>O NOSSO OBRIGADO!</a:t>
            </a:r>
            <a:br>
              <a:rPr lang="pt-PT" sz="3200"/>
            </a:br>
            <a:endParaRPr lang="pt-PT" sz="3200"/>
          </a:p>
        </p:txBody>
      </p:sp>
    </p:spTree>
    <p:extLst>
      <p:ext uri="{BB962C8B-B14F-4D97-AF65-F5344CB8AC3E}">
        <p14:creationId xmlns:p14="http://schemas.microsoft.com/office/powerpoint/2010/main" val="3891022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m 20" descr="Diagrama, Desenho técnico&#10;&#10;Descrição gerada automaticamente com confiança média">
            <a:extLst>
              <a:ext uri="{FF2B5EF4-FFF2-40B4-BE49-F238E27FC236}">
                <a16:creationId xmlns:a16="http://schemas.microsoft.com/office/drawing/2014/main" id="{027B7D88-F8B2-497E-B21C-7CA28202CB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5760" y="775298"/>
            <a:ext cx="6647900" cy="422909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7</a:t>
            </a:fld>
            <a:r>
              <a:rPr lang="pt-PT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147710" y="789366"/>
            <a:ext cx="2087490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t-PT" sz="1400">
                <a:solidFill>
                  <a:schemeClr val="bg1">
                    <a:lumMod val="50000"/>
                  </a:schemeClr>
                </a:solidFill>
              </a:rPr>
              <a:t>Fixe a base de assentamento na estrutura do edifício com </a:t>
            </a:r>
            <a:r>
              <a:rPr lang="pt-PT" sz="1400">
                <a:solidFill>
                  <a:srgbClr val="B50130"/>
                </a:solidFill>
              </a:rPr>
              <a:t>parafusos</a:t>
            </a:r>
            <a:r>
              <a:rPr lang="pt-PT" sz="140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pt-PT" sz="1400">
                <a:solidFill>
                  <a:srgbClr val="B50130"/>
                </a:solidFill>
              </a:rPr>
              <a:t>solda</a:t>
            </a:r>
            <a:r>
              <a:rPr lang="pt-PT" sz="1400">
                <a:solidFill>
                  <a:schemeClr val="bg1">
                    <a:lumMod val="50000"/>
                  </a:schemeClr>
                </a:solidFill>
              </a:rPr>
              <a:t> ou </a:t>
            </a:r>
            <a:r>
              <a:rPr lang="pt-PT" sz="1400">
                <a:solidFill>
                  <a:srgbClr val="B50130"/>
                </a:solidFill>
              </a:rPr>
              <a:t>acessórios de montagem</a:t>
            </a:r>
            <a:r>
              <a:rPr lang="pt-PT" sz="140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algn="ctr">
              <a:spcAft>
                <a:spcPts val="600"/>
              </a:spcAft>
            </a:pPr>
            <a:endParaRPr lang="en-GB" sz="1400" dirty="0">
              <a:solidFill>
                <a:schemeClr val="bg1">
                  <a:lumMod val="50000"/>
                </a:schemeClr>
              </a:solidFill>
            </a:endParaRPr>
          </a:p>
          <a:p>
            <a:pPr algn="ctr">
              <a:spcAft>
                <a:spcPts val="600"/>
              </a:spcAft>
            </a:pPr>
            <a:r>
              <a:rPr lang="pt-PT" sz="1400">
                <a:solidFill>
                  <a:schemeClr val="bg1">
                    <a:lumMod val="50000"/>
                  </a:schemeClr>
                </a:solidFill>
              </a:rPr>
              <a:t>A BASE DE ASSENTAMENTO DEVE SER TOTALMENTE FIXA À ESTRUTURA DO CHASSIS.</a:t>
            </a:r>
          </a:p>
        </p:txBody>
      </p:sp>
    </p:spTree>
    <p:extLst>
      <p:ext uri="{BB962C8B-B14F-4D97-AF65-F5344CB8AC3E}">
        <p14:creationId xmlns:p14="http://schemas.microsoft.com/office/powerpoint/2010/main" val="3831828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8</a:t>
            </a:fld>
            <a:r>
              <a:rPr lang="pt-PT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3399751" y="777986"/>
            <a:ext cx="234449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t-PT" sz="1400">
                <a:solidFill>
                  <a:schemeClr val="bg1">
                    <a:lumMod val="50000"/>
                  </a:schemeClr>
                </a:solidFill>
              </a:rPr>
              <a:t>A base de assentamento ajustável permite ajustar o ângulo em ambas as direções.</a:t>
            </a: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135A1866-F14C-4462-83BF-1C4543801388}"/>
              </a:ext>
            </a:extLst>
          </p:cNvPr>
          <p:cNvGrpSpPr/>
          <p:nvPr/>
        </p:nvGrpSpPr>
        <p:grpSpPr>
          <a:xfrm>
            <a:off x="168000" y="1687026"/>
            <a:ext cx="4320000" cy="2930694"/>
            <a:chOff x="232335" y="1687026"/>
            <a:chExt cx="4320000" cy="2930694"/>
          </a:xfrm>
        </p:grpSpPr>
        <p:pic>
          <p:nvPicPr>
            <p:cNvPr id="9" name="Imagem 8" descr="Uma imagem contendo Desenho técnico&#10;&#10;Descrição gerada automaticamente">
              <a:extLst>
                <a:ext uri="{FF2B5EF4-FFF2-40B4-BE49-F238E27FC236}">
                  <a16:creationId xmlns:a16="http://schemas.microsoft.com/office/drawing/2014/main" id="{4BE690F1-3CAB-497A-8BAC-333204F20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15157" y="1985265"/>
              <a:ext cx="4154356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5" name="Retângulo 4">
              <a:extLst>
                <a:ext uri="{FF2B5EF4-FFF2-40B4-BE49-F238E27FC236}">
                  <a16:creationId xmlns:a16="http://schemas.microsoft.com/office/drawing/2014/main" id="{5D0846C5-2502-427E-BAB5-218BBAAFEC50}"/>
                </a:ext>
              </a:extLst>
            </p:cNvPr>
            <p:cNvSpPr/>
            <p:nvPr/>
          </p:nvSpPr>
          <p:spPr>
            <a:xfrm>
              <a:off x="232335" y="1687026"/>
              <a:ext cx="4320000" cy="288000"/>
            </a:xfrm>
            <a:prstGeom prst="rect">
              <a:avLst/>
            </a:prstGeom>
            <a:solidFill>
              <a:srgbClr val="B50130"/>
            </a:solidFill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PT"/>
                <a:t>CASO 1</a:t>
              </a:r>
            </a:p>
          </p:txBody>
        </p:sp>
        <p:sp>
          <p:nvSpPr>
            <p:cNvPr id="15" name="Retângulo 14">
              <a:extLst>
                <a:ext uri="{FF2B5EF4-FFF2-40B4-BE49-F238E27FC236}">
                  <a16:creationId xmlns:a16="http://schemas.microsoft.com/office/drawing/2014/main" id="{C79D4995-3C55-4451-A405-482090A36652}"/>
                </a:ext>
              </a:extLst>
            </p:cNvPr>
            <p:cNvSpPr/>
            <p:nvPr/>
          </p:nvSpPr>
          <p:spPr>
            <a:xfrm>
              <a:off x="232335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pSp>
        <p:nvGrpSpPr>
          <p:cNvPr id="6" name="Agrupar 5">
            <a:extLst>
              <a:ext uri="{FF2B5EF4-FFF2-40B4-BE49-F238E27FC236}">
                <a16:creationId xmlns:a16="http://schemas.microsoft.com/office/drawing/2014/main" id="{40455028-B754-4656-A253-3AE0BEBF102A}"/>
              </a:ext>
            </a:extLst>
          </p:cNvPr>
          <p:cNvGrpSpPr/>
          <p:nvPr/>
        </p:nvGrpSpPr>
        <p:grpSpPr>
          <a:xfrm>
            <a:off x="4656000" y="1687026"/>
            <a:ext cx="4320000" cy="2930694"/>
            <a:chOff x="4683773" y="1687026"/>
            <a:chExt cx="4320000" cy="2930694"/>
          </a:xfrm>
        </p:grpSpPr>
        <p:pic>
          <p:nvPicPr>
            <p:cNvPr id="11" name="Imagem 10" descr="Diagrama&#10;&#10;Descrição gerada automaticamente">
              <a:extLst>
                <a:ext uri="{FF2B5EF4-FFF2-40B4-BE49-F238E27FC236}">
                  <a16:creationId xmlns:a16="http://schemas.microsoft.com/office/drawing/2014/main" id="{94ABF0E3-2B22-4ACB-BD18-681C2F48241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31773" y="1985265"/>
              <a:ext cx="4224000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14" name="Retângulo 13">
              <a:extLst>
                <a:ext uri="{FF2B5EF4-FFF2-40B4-BE49-F238E27FC236}">
                  <a16:creationId xmlns:a16="http://schemas.microsoft.com/office/drawing/2014/main" id="{6BED27AC-23F9-452D-A751-6526DE0473A2}"/>
                </a:ext>
              </a:extLst>
            </p:cNvPr>
            <p:cNvSpPr/>
            <p:nvPr/>
          </p:nvSpPr>
          <p:spPr>
            <a:xfrm>
              <a:off x="4683773" y="1687026"/>
              <a:ext cx="4320000" cy="288000"/>
            </a:xfrm>
            <a:prstGeom prst="rect">
              <a:avLst/>
            </a:prstGeom>
            <a:solidFill>
              <a:srgbClr val="800000"/>
            </a:solidFill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PT"/>
                <a:t>CASO 2</a:t>
              </a:r>
            </a:p>
          </p:txBody>
        </p:sp>
        <p:sp>
          <p:nvSpPr>
            <p:cNvPr id="16" name="Retângulo 15">
              <a:extLst>
                <a:ext uri="{FF2B5EF4-FFF2-40B4-BE49-F238E27FC236}">
                  <a16:creationId xmlns:a16="http://schemas.microsoft.com/office/drawing/2014/main" id="{BA4A9DD3-28BC-4A68-A7BA-44E9493FA2A3}"/>
                </a:ext>
              </a:extLst>
            </p:cNvPr>
            <p:cNvSpPr/>
            <p:nvPr/>
          </p:nvSpPr>
          <p:spPr>
            <a:xfrm>
              <a:off x="4683773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83434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Agrupar 17">
            <a:extLst>
              <a:ext uri="{FF2B5EF4-FFF2-40B4-BE49-F238E27FC236}">
                <a16:creationId xmlns:a16="http://schemas.microsoft.com/office/drawing/2014/main" id="{DA31F326-9B43-4F98-AE69-4612D5611643}"/>
              </a:ext>
            </a:extLst>
          </p:cNvPr>
          <p:cNvGrpSpPr/>
          <p:nvPr/>
        </p:nvGrpSpPr>
        <p:grpSpPr>
          <a:xfrm>
            <a:off x="4656000" y="1687026"/>
            <a:ext cx="4320000" cy="2930694"/>
            <a:chOff x="4683773" y="1687026"/>
            <a:chExt cx="4320000" cy="2930694"/>
          </a:xfrm>
        </p:grpSpPr>
        <p:pic>
          <p:nvPicPr>
            <p:cNvPr id="20" name="Imagem 19" descr="Diagrama&#10;&#10;Descrição gerada automaticamente">
              <a:extLst>
                <a:ext uri="{FF2B5EF4-FFF2-40B4-BE49-F238E27FC236}">
                  <a16:creationId xmlns:a16="http://schemas.microsoft.com/office/drawing/2014/main" id="{D7CABB9D-B515-4791-B685-5BB036E7608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731773" y="1985265"/>
              <a:ext cx="4224000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21" name="Retângulo 20">
              <a:extLst>
                <a:ext uri="{FF2B5EF4-FFF2-40B4-BE49-F238E27FC236}">
                  <a16:creationId xmlns:a16="http://schemas.microsoft.com/office/drawing/2014/main" id="{72EFD4A8-BE60-434F-9967-684091D48861}"/>
                </a:ext>
              </a:extLst>
            </p:cNvPr>
            <p:cNvSpPr/>
            <p:nvPr/>
          </p:nvSpPr>
          <p:spPr>
            <a:xfrm>
              <a:off x="4683773" y="1687026"/>
              <a:ext cx="4320000" cy="288000"/>
            </a:xfrm>
            <a:prstGeom prst="rect">
              <a:avLst/>
            </a:prstGeom>
            <a:solidFill>
              <a:srgbClr val="800000"/>
            </a:solidFill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PT"/>
                <a:t>CASO 2</a:t>
              </a:r>
            </a:p>
          </p:txBody>
        </p:sp>
        <p:sp>
          <p:nvSpPr>
            <p:cNvPr id="22" name="Retângulo 21">
              <a:extLst>
                <a:ext uri="{FF2B5EF4-FFF2-40B4-BE49-F238E27FC236}">
                  <a16:creationId xmlns:a16="http://schemas.microsoft.com/office/drawing/2014/main" id="{0CEC9D07-1EE0-4267-B365-A271A49E6CC2}"/>
                </a:ext>
              </a:extLst>
            </p:cNvPr>
            <p:cNvSpPr/>
            <p:nvPr/>
          </p:nvSpPr>
          <p:spPr>
            <a:xfrm>
              <a:off x="4683773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8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19" name="Retângulo 18">
            <a:extLst>
              <a:ext uri="{FF2B5EF4-FFF2-40B4-BE49-F238E27FC236}">
                <a16:creationId xmlns:a16="http://schemas.microsoft.com/office/drawing/2014/main" id="{1643F9E0-E8DF-456C-9EA4-D688EB2383A8}"/>
              </a:ext>
            </a:extLst>
          </p:cNvPr>
          <p:cNvSpPr/>
          <p:nvPr/>
        </p:nvSpPr>
        <p:spPr>
          <a:xfrm>
            <a:off x="4591667" y="1630473"/>
            <a:ext cx="4504212" cy="304856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52AEF19-4CB0-43C3-8162-AB7BB443E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-Baltic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6315560-E53E-4C58-ACC0-B04DD2E65EC3}"/>
              </a:ext>
            </a:extLst>
          </p:cNvPr>
          <p:cNvSpPr>
            <a:spLocks noGrp="1"/>
          </p:cNvSpPr>
          <p:nvPr>
            <p:ph type="subTitle" idx="14"/>
          </p:nvPr>
        </p:nvSpPr>
        <p:spPr/>
        <p:txBody>
          <a:bodyPr/>
          <a:lstStyle/>
          <a:p>
            <a:r>
              <a:rPr lang="pt-PT"/>
              <a:t>INSTALAÇÃO DA BASE DE ASSENTAMENTO</a:t>
            </a:r>
          </a:p>
        </p:txBody>
      </p:sp>
      <p:sp>
        <p:nvSpPr>
          <p:cNvPr id="51" name="Espaço Reservado para Data 3">
            <a:extLst>
              <a:ext uri="{FF2B5EF4-FFF2-40B4-BE49-F238E27FC236}">
                <a16:creationId xmlns:a16="http://schemas.microsoft.com/office/drawing/2014/main" id="{B24B5060-3A88-4A16-9818-0AF2A27FAE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55293" y="4767263"/>
            <a:ext cx="2133600" cy="205740"/>
          </a:xfrm>
        </p:spPr>
        <p:txBody>
          <a:bodyPr/>
          <a:lstStyle/>
          <a:p>
            <a:fld id="{92EC39F2-7773-9641-957D-47E9D005E398}" type="datetime1">
              <a:rPr lang="fr-FR" smtClean="0"/>
              <a:t>22/11/2021</a:t>
            </a:fld>
            <a:endParaRPr lang="fr-FR"/>
          </a:p>
        </p:txBody>
      </p:sp>
      <p:sp>
        <p:nvSpPr>
          <p:cNvPr id="55" name="Espaço Reservado para Número de Slide 4">
            <a:extLst>
              <a:ext uri="{FF2B5EF4-FFF2-40B4-BE49-F238E27FC236}">
                <a16:creationId xmlns:a16="http://schemas.microsoft.com/office/drawing/2014/main" id="{3D078CF8-187C-4AA2-BC18-7A8B927A1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4766310"/>
            <a:ext cx="1378699" cy="205740"/>
          </a:xfrm>
        </p:spPr>
        <p:txBody>
          <a:bodyPr/>
          <a:lstStyle/>
          <a:p>
            <a:fld id="{B679D5AC-1C0B-9841-873A-C169B35CF2CF}" type="slidenum">
              <a:rPr lang="fr-FR" smtClean="0"/>
              <a:pPr/>
              <a:t>9</a:t>
            </a:fld>
            <a:r>
              <a:rPr lang="pt-PT"/>
              <a:t> |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8E798CB7-8287-4097-8851-8D3BEA0867FE}"/>
              </a:ext>
            </a:extLst>
          </p:cNvPr>
          <p:cNvSpPr txBox="1"/>
          <p:nvPr/>
        </p:nvSpPr>
        <p:spPr>
          <a:xfrm>
            <a:off x="3399751" y="777986"/>
            <a:ext cx="234449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pt-PT" sz="1400">
                <a:solidFill>
                  <a:schemeClr val="bg1">
                    <a:lumMod val="50000"/>
                  </a:schemeClr>
                </a:solidFill>
              </a:rPr>
              <a:t>A base de assentamento ajustável permite ajustar o ângulo em ambas as direções.</a:t>
            </a:r>
          </a:p>
        </p:txBody>
      </p:sp>
      <p:grpSp>
        <p:nvGrpSpPr>
          <p:cNvPr id="7" name="Agrupar 6">
            <a:extLst>
              <a:ext uri="{FF2B5EF4-FFF2-40B4-BE49-F238E27FC236}">
                <a16:creationId xmlns:a16="http://schemas.microsoft.com/office/drawing/2014/main" id="{135A1866-F14C-4462-83BF-1C4543801388}"/>
              </a:ext>
            </a:extLst>
          </p:cNvPr>
          <p:cNvGrpSpPr/>
          <p:nvPr/>
        </p:nvGrpSpPr>
        <p:grpSpPr>
          <a:xfrm>
            <a:off x="168000" y="1687026"/>
            <a:ext cx="4320000" cy="2930694"/>
            <a:chOff x="232335" y="1687026"/>
            <a:chExt cx="4320000" cy="2930694"/>
          </a:xfrm>
        </p:grpSpPr>
        <p:pic>
          <p:nvPicPr>
            <p:cNvPr id="9" name="Imagem 8" descr="Uma imagem contendo Desenho técnico&#10;&#10;Descrição gerada automaticamente">
              <a:extLst>
                <a:ext uri="{FF2B5EF4-FFF2-40B4-BE49-F238E27FC236}">
                  <a16:creationId xmlns:a16="http://schemas.microsoft.com/office/drawing/2014/main" id="{4BE690F1-3CAB-497A-8BAC-333204F20E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15157" y="1985265"/>
              <a:ext cx="4154356" cy="2476696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5" name="Retângulo 4">
              <a:extLst>
                <a:ext uri="{FF2B5EF4-FFF2-40B4-BE49-F238E27FC236}">
                  <a16:creationId xmlns:a16="http://schemas.microsoft.com/office/drawing/2014/main" id="{5D0846C5-2502-427E-BAB5-218BBAAFEC50}"/>
                </a:ext>
              </a:extLst>
            </p:cNvPr>
            <p:cNvSpPr/>
            <p:nvPr/>
          </p:nvSpPr>
          <p:spPr>
            <a:xfrm>
              <a:off x="232335" y="1687026"/>
              <a:ext cx="4320000" cy="288000"/>
            </a:xfrm>
            <a:prstGeom prst="rect">
              <a:avLst/>
            </a:prstGeom>
            <a:solidFill>
              <a:srgbClr val="B50130"/>
            </a:solidFill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PT"/>
                <a:t>CASO 1</a:t>
              </a:r>
            </a:p>
          </p:txBody>
        </p:sp>
        <p:sp>
          <p:nvSpPr>
            <p:cNvPr id="15" name="Retângulo 14">
              <a:extLst>
                <a:ext uri="{FF2B5EF4-FFF2-40B4-BE49-F238E27FC236}">
                  <a16:creationId xmlns:a16="http://schemas.microsoft.com/office/drawing/2014/main" id="{C79D4995-3C55-4451-A405-482090A36652}"/>
                </a:ext>
              </a:extLst>
            </p:cNvPr>
            <p:cNvSpPr/>
            <p:nvPr/>
          </p:nvSpPr>
          <p:spPr>
            <a:xfrm>
              <a:off x="232335" y="1983200"/>
              <a:ext cx="4320000" cy="2634520"/>
            </a:xfrm>
            <a:prstGeom prst="rect">
              <a:avLst/>
            </a:prstGeom>
            <a:noFill/>
            <a:ln w="12700">
              <a:solidFill>
                <a:srgbClr val="B501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841113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LENNOX">
  <a:themeElements>
    <a:clrScheme name="Plaza">
      <a:dk1>
        <a:sysClr val="windowText" lastClr="000000"/>
      </a:dk1>
      <a:lt1>
        <a:sysClr val="window" lastClr="FFFFFF"/>
      </a:lt1>
      <a:dk2>
        <a:srgbClr val="333333"/>
      </a:dk2>
      <a:lt2>
        <a:srgbClr val="CCCCCC"/>
      </a:lt2>
      <a:accent1>
        <a:srgbClr val="990000"/>
      </a:accent1>
      <a:accent2>
        <a:srgbClr val="580101"/>
      </a:accent2>
      <a:accent3>
        <a:srgbClr val="E94A00"/>
      </a:accent3>
      <a:accent4>
        <a:srgbClr val="EB8F00"/>
      </a:accent4>
      <a:accent5>
        <a:srgbClr val="A4A4A4"/>
      </a:accent5>
      <a:accent6>
        <a:srgbClr val="666666"/>
      </a:accent6>
      <a:hlink>
        <a:srgbClr val="D01010"/>
      </a:hlink>
      <a:folHlink>
        <a:srgbClr val="E6682E"/>
      </a:folHlink>
    </a:clrScheme>
    <a:fontScheme name="Grille">
      <a:maj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ajorFont>
      <a:minorFont>
        <a:latin typeface="Franklin Gothic Medium"/>
        <a:ea typeface=""/>
        <a:cs typeface=""/>
        <a:font script="Jpan" typeface="HG創英角ｺﾞｼｯｸUB"/>
        <a:font script="Hang" typeface="HY견고딕"/>
        <a:font script="Hans" typeface="微软雅黑"/>
        <a:font script="Hant" typeface="微軟正黑體"/>
        <a:font script="Arab" typeface="Arial Bold"/>
        <a:font script="Hebr" typeface="Arial Bold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 Bold"/>
        <a:font script="Uigh" typeface="Microsoft Uighur"/>
        <a:font script="Geor" typeface="Sylfaen"/>
      </a:minorFont>
    </a:fontScheme>
    <a:fmtScheme name="Grille">
      <a:fillStyleLst>
        <a:solidFill>
          <a:schemeClr val="phClr"/>
        </a:solidFill>
        <a:solidFill>
          <a:schemeClr val="phClr">
            <a:tint val="5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175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3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3000"/>
                <a:satMod val="11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X II - Product launch</Template>
  <TotalTime>847</TotalTime>
  <Words>2608</Words>
  <Application>Microsoft Office PowerPoint</Application>
  <PresentationFormat>Affichage à l'écran (16:9)</PresentationFormat>
  <Paragraphs>493</Paragraphs>
  <Slides>68</Slides>
  <Notes>32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8</vt:i4>
      </vt:variant>
    </vt:vector>
  </HeadingPairs>
  <TitlesOfParts>
    <vt:vector size="75" baseType="lpstr">
      <vt:lpstr>Arial</vt:lpstr>
      <vt:lpstr>Calibri</vt:lpstr>
      <vt:lpstr>Franklin Gothic Medium</vt:lpstr>
      <vt:lpstr>Wingdings</vt:lpstr>
      <vt:lpstr>Wingdings 2</vt:lpstr>
      <vt:lpstr>LENNOX</vt:lpstr>
      <vt:lpstr>think-cell Slide</vt:lpstr>
      <vt:lpstr>    e-Baltic Manual de Instalação</vt:lpstr>
      <vt:lpstr>    e-Baltic Instalação da base de assentamento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    e-Baltic Instalação da unidade Rooftop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    e-Baltic Instalação da cablagem da unidade Rooftop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e-Baltic</vt:lpstr>
      <vt:lpstr>    e-Baltic Instalação de condutas</vt:lpstr>
      <vt:lpstr>e-Baltic</vt:lpstr>
      <vt:lpstr>e-Baltic</vt:lpstr>
      <vt:lpstr>e-Baltic</vt:lpstr>
      <vt:lpstr>e-Baltic</vt:lpstr>
      <vt:lpstr>e-Baltic</vt:lpstr>
      <vt:lpstr>    e-Baltic Arranque</vt:lpstr>
      <vt:lpstr>e-Baltic</vt:lpstr>
      <vt:lpstr>DECLARAÇÃO </vt:lpstr>
      <vt:lpstr>e-Baltic</vt:lpstr>
      <vt:lpstr>O NOSSO OBRIGADO! </vt:lpstr>
    </vt:vector>
  </TitlesOfParts>
  <Company>LGL FRAN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Diego Kalume</dc:creator>
  <cp:lastModifiedBy>Segaud, Elodie</cp:lastModifiedBy>
  <cp:revision>1570</cp:revision>
  <dcterms:created xsi:type="dcterms:W3CDTF">2019-11-26T13:10:48Z</dcterms:created>
  <dcterms:modified xsi:type="dcterms:W3CDTF">2021-11-22T17:31:47Z</dcterms:modified>
</cp:coreProperties>
</file>